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5"/>
  </p:notesMasterIdLst>
  <p:handoutMasterIdLst>
    <p:handoutMasterId r:id="rId16"/>
  </p:handoutMasterIdLst>
  <p:sldIdLst>
    <p:sldId id="492" r:id="rId5"/>
    <p:sldId id="508" r:id="rId6"/>
    <p:sldId id="512" r:id="rId7"/>
    <p:sldId id="495" r:id="rId8"/>
    <p:sldId id="506" r:id="rId9"/>
    <p:sldId id="498" r:id="rId10"/>
    <p:sldId id="509" r:id="rId11"/>
    <p:sldId id="517" r:id="rId12"/>
    <p:sldId id="516" r:id="rId13"/>
    <p:sldId id="513" r:id="rId14"/>
  </p:sldIdLst>
  <p:sldSz cx="12192000" cy="6858000"/>
  <p:notesSz cx="6858000" cy="91440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921" userDrawn="1">
          <p15:clr>
            <a:srgbClr val="A4A3A4"/>
          </p15:clr>
        </p15:guide>
        <p15:guide id="2" orient="horz" pos="109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0357545-2E10-E1D6-9FF9-D5CDEF1C6C5B}" name="Manuela Müller" initials="MM" userId="Manuela Müller" providerId="None"/>
  <p188:author id="{42080266-2EE5-D38E-5B21-06C8A9BA0D4C}" name="Isabell Dunschen" initials="ID" userId="S::Isabell.Dunschen@cwh.de::17bd62fe-811b-409b-a23f-4036b10f244f" providerId="AD"/>
  <p188:author id="{CA1B34B2-A512-06F2-510D-314B3C308D8C}" name="Simone Königs" initials="SK" userId="S::Simone.Koenigs@cwh.de::065ad653-683d-41e1-b18a-8ba93ba5818f" providerId="AD"/>
  <p188:author id="{F11F0FB9-A629-A541-D855-757BAAF82F35}" name="Robert Runge" initials="RR" userId="S::robert.runge@reflact.com::e7162c12-cc22-4870-a238-c44cca37be9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52" autoAdjust="0"/>
    <p:restoredTop sz="95675" autoAdjust="0"/>
  </p:normalViewPr>
  <p:slideViewPr>
    <p:cSldViewPr snapToGrid="0" snapToObjects="1">
      <p:cViewPr varScale="1">
        <p:scale>
          <a:sx n="81" d="100"/>
          <a:sy n="81" d="100"/>
        </p:scale>
        <p:origin x="90" y="108"/>
      </p:cViewPr>
      <p:guideLst>
        <p:guide pos="3921"/>
        <p:guide orient="horz" pos="1094"/>
      </p:guideLst>
    </p:cSldViewPr>
  </p:slideViewPr>
  <p:outlineViewPr>
    <p:cViewPr>
      <p:scale>
        <a:sx n="33" d="100"/>
        <a:sy n="33" d="100"/>
      </p:scale>
      <p:origin x="0" y="-10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99" d="100"/>
          <a:sy n="99" d="100"/>
        </p:scale>
        <p:origin x="357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F98F0842-A436-A288-6103-AED4372E4C6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F87232C-A3FD-54F9-4FD8-988DD6140B4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BCDBA6-9C7D-4861-BF8F-0C8058B811A6}" type="datetimeFigureOut">
              <a:rPr lang="en-GB" smtClean="0"/>
              <a:t>24/11/2022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F28EDB9-D90E-3006-AE63-B9F5ABA5BC9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D8B47F2-1ACA-6A21-BBED-533077A974E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D2662F-EDD2-480F-8BC0-14D06E85EC3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83290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671DE55B-DF81-624D-A5C9-DBACE381C2EA}" type="datetimeFigureOut">
              <a:rPr lang="de-DE" smtClean="0"/>
              <a:pPr/>
              <a:t>24.11.2022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C4539159-BEF6-BA4B-BAE6-9CDCAC00B5B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16968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39159-BEF6-BA4B-BAE6-9CDCAC00B5B1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21562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39159-BEF6-BA4B-BAE6-9CDCAC00B5B1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9128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39159-BEF6-BA4B-BAE6-9CDCAC00B5B1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24366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39159-BEF6-BA4B-BAE6-9CDCAC00B5B1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68572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39159-BEF6-BA4B-BAE6-9CDCAC00B5B1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32583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39159-BEF6-BA4B-BAE6-9CDCAC00B5B1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44232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39159-BEF6-BA4B-BAE6-9CDCAC00B5B1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43097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39159-BEF6-BA4B-BAE6-9CDCAC00B5B1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35153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39159-BEF6-BA4B-BAE6-9CDCAC00B5B1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19464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39159-BEF6-BA4B-BAE6-9CDCAC00B5B1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07603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8.emf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0.emf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8.emf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12.emf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13.emf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8.emf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EDBBC20-6209-D6EA-B5B3-DD7FCF288B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5722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EDBBC20-6209-D6EA-B5B3-DD7FCF288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>
            <a:extLst>
              <a:ext uri="{FF2B5EF4-FFF2-40B4-BE49-F238E27FC236}">
                <a16:creationId xmlns:a16="http://schemas.microsoft.com/office/drawing/2014/main" id="{5E2EC106-B271-166A-DA65-9AC9F0BE693D}"/>
              </a:ext>
            </a:extLst>
          </p:cNvPr>
          <p:cNvSpPr/>
          <p:nvPr userDrawn="1"/>
        </p:nvSpPr>
        <p:spPr>
          <a:xfrm>
            <a:off x="0" y="0"/>
            <a:ext cx="12191999" cy="6021387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65000">
                <a:schemeClr val="accent1"/>
              </a:gs>
              <a:gs pos="0">
                <a:schemeClr val="accent3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580FFC4-4887-5D45-885C-A06014DB3A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9061" y="1935871"/>
            <a:ext cx="5323802" cy="683077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Herzlich willkomm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129B891-C67D-ED41-97E5-CF810EF006A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9062" y="2798563"/>
            <a:ext cx="5323802" cy="1440490"/>
          </a:xfrm>
        </p:spPr>
        <p:txBody>
          <a:bodyPr lIns="0" tIns="0" rIns="0" bIns="0">
            <a:noAutofit/>
          </a:bodyPr>
          <a:lstStyle>
            <a:lvl1pPr marL="0" indent="0" algn="l" rtl="0">
              <a:lnSpc>
                <a:spcPts val="3000"/>
              </a:lnSpc>
              <a:buNone/>
              <a:defRPr sz="2600" b="0" spc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</a:t>
            </a:r>
          </a:p>
        </p:txBody>
      </p:sp>
      <p:pic>
        <p:nvPicPr>
          <p:cNvPr id="9" name="Grafik 8" descr="Die Grafik zeigt einen blauen geschwungen Bogen. Es ist ein Element aus dem Logo der BIH.">
            <a:extLst>
              <a:ext uri="{FF2B5EF4-FFF2-40B4-BE49-F238E27FC236}">
                <a16:creationId xmlns:a16="http://schemas.microsoft.com/office/drawing/2014/main" id="{6584E4E6-073D-6F4C-8AC3-072AFF67B62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99421" y="441325"/>
            <a:ext cx="4951884" cy="1897859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9082F932-570E-3846-8BDE-EA8314BD9D41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pic>
        <p:nvPicPr>
          <p:cNvPr id="16" name="Grafik 15" descr="Das Foto zeigt eine junge Frau mit blauweiß getupfter Bluse und Headset. Sie sitzt an einem Computer und lacht sehr freundlich.">
            <a:extLst>
              <a:ext uri="{FF2B5EF4-FFF2-40B4-BE49-F238E27FC236}">
                <a16:creationId xmlns:a16="http://schemas.microsoft.com/office/drawing/2014/main" id="{FC81051C-4D71-3F83-FE08-219B7BC4E3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830" r="26568"/>
          <a:stretch/>
        </p:blipFill>
        <p:spPr>
          <a:xfrm>
            <a:off x="6450681" y="0"/>
            <a:ext cx="5745496" cy="6021387"/>
          </a:xfrm>
          <a:custGeom>
            <a:avLst/>
            <a:gdLst>
              <a:gd name="connsiteX0" fmla="*/ 2061147 w 5745496"/>
              <a:gd name="connsiteY0" fmla="*/ 0 h 6021387"/>
              <a:gd name="connsiteX1" fmla="*/ 5745496 w 5745496"/>
              <a:gd name="connsiteY1" fmla="*/ 0 h 6021387"/>
              <a:gd name="connsiteX2" fmla="*/ 5745496 w 5745496"/>
              <a:gd name="connsiteY2" fmla="*/ 6021387 h 6021387"/>
              <a:gd name="connsiteX3" fmla="*/ 0 w 5745496"/>
              <a:gd name="connsiteY3" fmla="*/ 6021387 h 602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5496" h="6021387">
                <a:moveTo>
                  <a:pt x="2061147" y="0"/>
                </a:moveTo>
                <a:lnTo>
                  <a:pt x="5745496" y="0"/>
                </a:lnTo>
                <a:lnTo>
                  <a:pt x="5745496" y="6021387"/>
                </a:lnTo>
                <a:lnTo>
                  <a:pt x="0" y="6021387"/>
                </a:lnTo>
                <a:close/>
              </a:path>
            </a:pathLst>
          </a:cu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F4836DF-BBE2-8690-6BA6-1F1B561B0E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9062" y="5013457"/>
            <a:ext cx="4951884" cy="55399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m </a:t>
            </a:r>
            <a:r>
              <a:rPr lang="de-DE" dirty="0" err="1"/>
              <a:t>tt.mm.jjjj</a:t>
            </a:r>
            <a:endParaRPr lang="de-DE" dirty="0"/>
          </a:p>
          <a:p>
            <a:pPr lvl="0"/>
            <a:r>
              <a:rPr lang="de-DE" dirty="0"/>
              <a:t>Es grüßt Sie 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1746964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5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Icon, Rand schmal, rechts,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6BF47A-852D-B5F3-489E-CDF3C35D38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3254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6BF47A-852D-B5F3-489E-CDF3C35D38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reihandform 39">
            <a:extLst>
              <a:ext uri="{FF2B5EF4-FFF2-40B4-BE49-F238E27FC236}">
                <a16:creationId xmlns:a16="http://schemas.microsoft.com/office/drawing/2014/main" id="{D221979D-4306-E01C-780A-59C5823ECC01}"/>
              </a:ext>
            </a:extLst>
          </p:cNvPr>
          <p:cNvSpPr/>
          <p:nvPr userDrawn="1"/>
        </p:nvSpPr>
        <p:spPr>
          <a:xfrm>
            <a:off x="9114426" y="0"/>
            <a:ext cx="3089574" cy="6027962"/>
          </a:xfrm>
          <a:custGeom>
            <a:avLst/>
            <a:gdLst>
              <a:gd name="connsiteX0" fmla="*/ 2061148 w 3089574"/>
              <a:gd name="connsiteY0" fmla="*/ 0 h 6021388"/>
              <a:gd name="connsiteX1" fmla="*/ 3089574 w 3089574"/>
              <a:gd name="connsiteY1" fmla="*/ 0 h 6021388"/>
              <a:gd name="connsiteX2" fmla="*/ 3089574 w 3089574"/>
              <a:gd name="connsiteY2" fmla="*/ 6021388 h 6021388"/>
              <a:gd name="connsiteX3" fmla="*/ 0 w 3089574"/>
              <a:gd name="connsiteY3" fmla="*/ 6021388 h 6021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9574" h="6021388">
                <a:moveTo>
                  <a:pt x="2061148" y="0"/>
                </a:moveTo>
                <a:lnTo>
                  <a:pt x="3089574" y="0"/>
                </a:lnTo>
                <a:lnTo>
                  <a:pt x="3089574" y="6021388"/>
                </a:lnTo>
                <a:lnTo>
                  <a:pt x="0" y="6021388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80000">
                <a:schemeClr val="accent1"/>
              </a:gs>
              <a:gs pos="0">
                <a:schemeClr val="accent3"/>
              </a:gs>
            </a:gsLst>
            <a:lin ang="42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B8034BE2-8CE6-3D41-8EAE-43476D4FA00C}"/>
              </a:ext>
            </a:extLst>
          </p:cNvPr>
          <p:cNvSpPr txBox="1">
            <a:spLocks/>
          </p:cNvSpPr>
          <p:nvPr userDrawn="1"/>
        </p:nvSpPr>
        <p:spPr>
          <a:xfrm>
            <a:off x="570630" y="756854"/>
            <a:ext cx="10924565" cy="54927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rtl="0"/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107244D-1EAC-AA46-B92E-31D5E9A91F80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3758D43-D92B-96C2-BE7B-3E7C34A9C3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800" y="1612800"/>
            <a:ext cx="8692396" cy="2708434"/>
          </a:xfrm>
        </p:spPr>
        <p:txBody>
          <a:bodyPr wrap="square" lIns="9000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F43BAAE2-74D5-53E8-BA96-06C7E826AC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7200"/>
            <a:ext cx="8692396" cy="590931"/>
          </a:xfrm>
        </p:spPr>
        <p:txBody>
          <a:bodyPr vert="horz" wrap="square" lIns="90000" tIns="45720" rIns="91440" bIns="45720" rtlCol="0" anchor="b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732FA98D-9146-BB15-4851-FD496F1CB6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69375" y="6426596"/>
            <a:ext cx="2743200" cy="184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Fußzeilenplatzhalter 3">
            <a:extLst>
              <a:ext uri="{FF2B5EF4-FFF2-40B4-BE49-F238E27FC236}">
                <a16:creationId xmlns:a16="http://schemas.microsoft.com/office/drawing/2014/main" id="{3C299A49-6A36-36A4-163F-64969769C2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155029" y="6608514"/>
            <a:ext cx="557546" cy="184666"/>
          </a:xfrm>
          <a:prstGeom prst="rect">
            <a:avLst/>
          </a:prstGeom>
        </p:spPr>
        <p:txBody>
          <a:bodyPr vert="horz" wrap="none" lIns="0" tIns="0" rIns="90000" bIns="0" rtlCol="0" anchor="ctr">
            <a:spAutoFit/>
          </a:bodyPr>
          <a:lstStyle>
            <a:lvl1pPr>
              <a:defRPr lang="de-DE" smtClean="0"/>
            </a:lvl1pPr>
          </a:lstStyle>
          <a:p>
            <a:pPr algn="r"/>
            <a:r>
              <a:rPr lang="de-DE"/>
              <a:t>von 10</a:t>
            </a:r>
            <a:endParaRPr lang="de-DE" dirty="0"/>
          </a:p>
        </p:txBody>
      </p:sp>
      <p:pic>
        <p:nvPicPr>
          <p:cNvPr id="26" name="Grafik 25" descr="Die Icon zeigt eine rote achteckige Fläche mit einer weißen Checkliste.">
            <a:extLst>
              <a:ext uri="{FF2B5EF4-FFF2-40B4-BE49-F238E27FC236}">
                <a16:creationId xmlns:a16="http://schemas.microsoft.com/office/drawing/2014/main" id="{A9ED9BA4-81B7-3528-3E4F-221E2D17EB4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16318" y="2282603"/>
            <a:ext cx="1631188" cy="1456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293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ich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E485246-1A6D-A716-0603-E7A16FFE9B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3792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E485246-1A6D-A716-0603-E7A16FFE9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28DED67B-2277-874B-9C9D-F7911E3DBE5A}"/>
              </a:ext>
            </a:extLst>
          </p:cNvPr>
          <p:cNvCxnSpPr>
            <a:cxnSpLocks/>
            <a:stCxn id="9" idx="2"/>
          </p:cNvCxnSpPr>
          <p:nvPr userDrawn="1"/>
        </p:nvCxnSpPr>
        <p:spPr>
          <a:xfrm flipH="1">
            <a:off x="6096000" y="2668168"/>
            <a:ext cx="4265254" cy="101978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>
            <a:extLst>
              <a:ext uri="{FF2B5EF4-FFF2-40B4-BE49-F238E27FC236}">
                <a16:creationId xmlns:a16="http://schemas.microsoft.com/office/drawing/2014/main" id="{EB454ADB-719F-5C4B-A670-96349303DB9D}"/>
              </a:ext>
            </a:extLst>
          </p:cNvPr>
          <p:cNvCxnSpPr>
            <a:cxnSpLocks/>
            <a:endCxn id="6" idx="2"/>
          </p:cNvCxnSpPr>
          <p:nvPr userDrawn="1"/>
        </p:nvCxnSpPr>
        <p:spPr>
          <a:xfrm flipH="1" flipV="1">
            <a:off x="1940149" y="2668168"/>
            <a:ext cx="4174323" cy="101978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>
            <a:extLst>
              <a:ext uri="{FF2B5EF4-FFF2-40B4-BE49-F238E27FC236}">
                <a16:creationId xmlns:a16="http://schemas.microsoft.com/office/drawing/2014/main" id="{35263B22-5E87-FE43-92CE-DD436A1A96F2}"/>
              </a:ext>
            </a:extLst>
          </p:cNvPr>
          <p:cNvCxnSpPr>
            <a:cxnSpLocks/>
            <a:stCxn id="10" idx="0"/>
          </p:cNvCxnSpPr>
          <p:nvPr userDrawn="1"/>
        </p:nvCxnSpPr>
        <p:spPr>
          <a:xfrm flipH="1" flipV="1">
            <a:off x="6096000" y="3694254"/>
            <a:ext cx="4265254" cy="1013472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>
            <a:extLst>
              <a:ext uri="{FF2B5EF4-FFF2-40B4-BE49-F238E27FC236}">
                <a16:creationId xmlns:a16="http://schemas.microsoft.com/office/drawing/2014/main" id="{BE66817C-8FE6-A348-B823-7A8331902565}"/>
              </a:ext>
            </a:extLst>
          </p:cNvPr>
          <p:cNvCxnSpPr>
            <a:cxnSpLocks/>
            <a:stCxn id="12" idx="2"/>
          </p:cNvCxnSpPr>
          <p:nvPr userDrawn="1"/>
        </p:nvCxnSpPr>
        <p:spPr>
          <a:xfrm>
            <a:off x="6150701" y="2668168"/>
            <a:ext cx="0" cy="1026086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>
            <a:extLst>
              <a:ext uri="{FF2B5EF4-FFF2-40B4-BE49-F238E27FC236}">
                <a16:creationId xmlns:a16="http://schemas.microsoft.com/office/drawing/2014/main" id="{64D32581-B43D-4B49-806A-F745A49B04E5}"/>
              </a:ext>
            </a:extLst>
          </p:cNvPr>
          <p:cNvCxnSpPr>
            <a:cxnSpLocks/>
            <a:endCxn id="11" idx="0"/>
          </p:cNvCxnSpPr>
          <p:nvPr userDrawn="1"/>
        </p:nvCxnSpPr>
        <p:spPr>
          <a:xfrm>
            <a:off x="6150701" y="3693788"/>
            <a:ext cx="0" cy="1013938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E188FAE7-02ED-A94A-B415-A175E49A9C9F}"/>
              </a:ext>
            </a:extLst>
          </p:cNvPr>
          <p:cNvCxnSpPr>
            <a:cxnSpLocks/>
            <a:stCxn id="7" idx="0"/>
          </p:cNvCxnSpPr>
          <p:nvPr userDrawn="1"/>
        </p:nvCxnSpPr>
        <p:spPr>
          <a:xfrm flipV="1">
            <a:off x="1940149" y="3686458"/>
            <a:ext cx="4174323" cy="1021268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33">
            <a:extLst>
              <a:ext uri="{FF2B5EF4-FFF2-40B4-BE49-F238E27FC236}">
                <a16:creationId xmlns:a16="http://schemas.microsoft.com/office/drawing/2014/main" id="{6901D70E-6ACE-7B48-B57F-C5BB15C65B51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pic>
        <p:nvPicPr>
          <p:cNvPr id="43" name="Grafik 42" descr="Die Icon zeigt eine rote achteckige Fläche mit einer weißen Checkliste.">
            <a:extLst>
              <a:ext uri="{FF2B5EF4-FFF2-40B4-BE49-F238E27FC236}">
                <a16:creationId xmlns:a16="http://schemas.microsoft.com/office/drawing/2014/main" id="{B6669230-D43A-C1B1-DA62-093EFB5E863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5343623" y="2997456"/>
            <a:ext cx="1624213" cy="1453884"/>
          </a:xfrm>
          <a:prstGeom prst="rect">
            <a:avLst/>
          </a:prstGeo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764C26C-867A-2753-36BC-4374431F004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0149" y="1748853"/>
            <a:ext cx="2700000" cy="919315"/>
          </a:xfr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822BF24E-D500-ED53-A055-E4649DEFFB9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90149" y="4707726"/>
            <a:ext cx="2700000" cy="919315"/>
          </a:xfr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48A270C5-7B75-61B7-6243-ADEEB2F2F0D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011254" y="1748853"/>
            <a:ext cx="2700000" cy="919315"/>
          </a:xfr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AEAC439C-949A-01E3-6A80-517DF78F9A4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11254" y="4707726"/>
            <a:ext cx="2700000" cy="919315"/>
          </a:xfr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06C7D400-30C4-44F4-88F1-1E7A61BCE05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800701" y="4707726"/>
            <a:ext cx="2700000" cy="919315"/>
          </a:xfr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385556A0-CBAA-4D7D-3593-F5ECDF8E197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800701" y="1748853"/>
            <a:ext cx="2700000" cy="919315"/>
          </a:xfrm>
          <a:solidFill>
            <a:schemeClr val="bg2"/>
          </a:solidFill>
        </p:spPr>
        <p:txBody>
          <a:bodyPr anchor="ctr">
            <a:noAutofit/>
          </a:bodyPr>
          <a:lstStyle>
            <a:lvl1pPr marL="0" indent="0" algn="ctr">
              <a:buNone/>
              <a:defRPr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9" name="Titel 8">
            <a:extLst>
              <a:ext uri="{FF2B5EF4-FFF2-40B4-BE49-F238E27FC236}">
                <a16:creationId xmlns:a16="http://schemas.microsoft.com/office/drawing/2014/main" id="{EF423458-5475-012A-DCD4-2D79827739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7200"/>
            <a:ext cx="11232454" cy="590931"/>
          </a:xfrm>
        </p:spPr>
        <p:txBody>
          <a:bodyPr vert="horz" wrap="square" lIns="90000" tIns="45720" rIns="91440" bIns="45720" rtlCol="0" anchor="b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C60D467-F4EC-3954-6292-CEA5EE7F20E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C461BC1-2A12-AD9B-AFA0-DD5AF43AAD40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78259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48944CC-FBAC-7DE8-84AA-A993FB31DE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966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48944CC-FBAC-7DE8-84AA-A993FB31DE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ihandform 15">
            <a:extLst>
              <a:ext uri="{FF2B5EF4-FFF2-40B4-BE49-F238E27FC236}">
                <a16:creationId xmlns:a16="http://schemas.microsoft.com/office/drawing/2014/main" id="{658D03C2-A5C9-360C-B9D3-A907F0345876}"/>
              </a:ext>
            </a:extLst>
          </p:cNvPr>
          <p:cNvSpPr/>
          <p:nvPr userDrawn="1"/>
        </p:nvSpPr>
        <p:spPr>
          <a:xfrm>
            <a:off x="0" y="0"/>
            <a:ext cx="3225732" cy="6011228"/>
          </a:xfrm>
          <a:custGeom>
            <a:avLst/>
            <a:gdLst>
              <a:gd name="connsiteX0" fmla="*/ 0 w 3225732"/>
              <a:gd name="connsiteY0" fmla="*/ 0 h 6011228"/>
              <a:gd name="connsiteX1" fmla="*/ 1170777 w 3225732"/>
              <a:gd name="connsiteY1" fmla="*/ 0 h 6011228"/>
              <a:gd name="connsiteX2" fmla="*/ 3225732 w 3225732"/>
              <a:gd name="connsiteY2" fmla="*/ 6011228 h 6011228"/>
              <a:gd name="connsiteX3" fmla="*/ 0 w 3225732"/>
              <a:gd name="connsiteY3" fmla="*/ 6011228 h 601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25732" h="6011228">
                <a:moveTo>
                  <a:pt x="0" y="0"/>
                </a:moveTo>
                <a:lnTo>
                  <a:pt x="1170777" y="0"/>
                </a:lnTo>
                <a:lnTo>
                  <a:pt x="3225732" y="6011228"/>
                </a:lnTo>
                <a:lnTo>
                  <a:pt x="0" y="6011228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30000">
                <a:schemeClr val="accent3"/>
              </a:gs>
            </a:gsLst>
            <a:lin ang="42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D33B5F7-C1D3-0141-8173-4CF8068E6FDA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cxnSp>
        <p:nvCxnSpPr>
          <p:cNvPr id="3" name="Gerade Verbindung 2">
            <a:extLst>
              <a:ext uri="{FF2B5EF4-FFF2-40B4-BE49-F238E27FC236}">
                <a16:creationId xmlns:a16="http://schemas.microsoft.com/office/drawing/2014/main" id="{4682C579-47CC-684B-A104-CBB41E063185}"/>
              </a:ext>
            </a:extLst>
          </p:cNvPr>
          <p:cNvCxnSpPr>
            <a:cxnSpLocks/>
          </p:cNvCxnSpPr>
          <p:nvPr userDrawn="1"/>
        </p:nvCxnSpPr>
        <p:spPr>
          <a:xfrm>
            <a:off x="3667790" y="1892724"/>
            <a:ext cx="8536210" cy="0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el 3">
            <a:extLst>
              <a:ext uri="{FF2B5EF4-FFF2-40B4-BE49-F238E27FC236}">
                <a16:creationId xmlns:a16="http://schemas.microsoft.com/office/drawing/2014/main" id="{D04B9327-8060-9B69-78DB-9DFC3ADD16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7789" y="727200"/>
            <a:ext cx="8044785" cy="590931"/>
          </a:xfrm>
        </p:spPr>
        <p:txBody>
          <a:bodyPr vert="horz" wrap="square" lIns="90000" tIns="45720" rIns="91440" bIns="45720" rtlCol="0" anchor="b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83781EB-79FB-1A2B-3A0D-358C82484D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67790" y="1334865"/>
            <a:ext cx="8044784" cy="451406"/>
          </a:xfrm>
        </p:spPr>
        <p:txBody>
          <a:bodyPr lIns="90000" anchor="b"/>
          <a:lstStyle>
            <a:lvl1pPr marL="0" indent="0">
              <a:buNone/>
              <a:defRPr b="1"/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97A93ED5-4586-3764-D675-10179AC6B5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67791" y="2290413"/>
            <a:ext cx="8044783" cy="2708434"/>
          </a:xfrm>
        </p:spPr>
        <p:txBody>
          <a:bodyPr lIns="90000"/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22" name="Grafik 21" descr="Die Icon zeigt eine rote achteckige Fläche mit einem weißen Fragezeichen.">
            <a:extLst>
              <a:ext uri="{FF2B5EF4-FFF2-40B4-BE49-F238E27FC236}">
                <a16:creationId xmlns:a16="http://schemas.microsoft.com/office/drawing/2014/main" id="{DDC52743-9BDE-87DD-9BAB-F84D3BF36D3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0856" y="1474035"/>
            <a:ext cx="1631188" cy="1456182"/>
          </a:xfrm>
          <a:prstGeom prst="rect">
            <a:avLst/>
          </a:prstGeom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7B9E4F-0F0B-3B0C-9C41-DDA1F946834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3CD1E76-1B3E-B055-448C-357089936DA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1370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5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ge,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394599-1664-9EC3-F96F-D68CC6FBA7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6887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394599-1664-9EC3-F96F-D68CC6FBA7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4FA33DB9-49AA-0E41-BF05-9D536FDA9D34}"/>
              </a:ext>
            </a:extLst>
          </p:cNvPr>
          <p:cNvSpPr/>
          <p:nvPr userDrawn="1"/>
        </p:nvSpPr>
        <p:spPr>
          <a:xfrm>
            <a:off x="0" y="0"/>
            <a:ext cx="12191999" cy="6021387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65000">
                <a:schemeClr val="accent1"/>
              </a:gs>
              <a:gs pos="0">
                <a:schemeClr val="accent3"/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DAB09CCE-B5F7-9B40-AAD3-89B3E9F42167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A44C3B3-7D10-EE6C-1E5E-76BA8E285B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240034" y="2641361"/>
            <a:ext cx="7711930" cy="738664"/>
          </a:xfrm>
        </p:spPr>
        <p:txBody>
          <a:bodyPr wrap="square" anchor="ctr">
            <a:spAutoFit/>
          </a:bodyPr>
          <a:lstStyle>
            <a:lvl1pPr marL="0" indent="0" algn="ctr">
              <a:lnSpc>
                <a:spcPct val="100000"/>
              </a:lnSpc>
              <a:buNone/>
              <a:defRPr sz="4200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97FEBB6-59DB-C800-9032-D9641D88657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E64BDBB-9243-0B00-8004-75FBDF038A3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5572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Icon, Rand schmal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26F938A-B4DC-240E-4179-CA732CF7C8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16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26F938A-B4DC-240E-4179-CA732CF7C8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ihandform 12">
            <a:extLst>
              <a:ext uri="{FF2B5EF4-FFF2-40B4-BE49-F238E27FC236}">
                <a16:creationId xmlns:a16="http://schemas.microsoft.com/office/drawing/2014/main" id="{1124461A-5746-B8EE-2DD7-4A42ABF29A24}"/>
              </a:ext>
            </a:extLst>
          </p:cNvPr>
          <p:cNvSpPr/>
          <p:nvPr userDrawn="1"/>
        </p:nvSpPr>
        <p:spPr>
          <a:xfrm>
            <a:off x="0" y="0"/>
            <a:ext cx="3225732" cy="6011228"/>
          </a:xfrm>
          <a:custGeom>
            <a:avLst/>
            <a:gdLst>
              <a:gd name="connsiteX0" fmla="*/ 0 w 3225732"/>
              <a:gd name="connsiteY0" fmla="*/ 0 h 6011228"/>
              <a:gd name="connsiteX1" fmla="*/ 1170777 w 3225732"/>
              <a:gd name="connsiteY1" fmla="*/ 0 h 6011228"/>
              <a:gd name="connsiteX2" fmla="*/ 3225732 w 3225732"/>
              <a:gd name="connsiteY2" fmla="*/ 6011228 h 6011228"/>
              <a:gd name="connsiteX3" fmla="*/ 0 w 3225732"/>
              <a:gd name="connsiteY3" fmla="*/ 6011228 h 601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25732" h="6011228">
                <a:moveTo>
                  <a:pt x="0" y="0"/>
                </a:moveTo>
                <a:lnTo>
                  <a:pt x="1170777" y="0"/>
                </a:lnTo>
                <a:lnTo>
                  <a:pt x="3225732" y="6011228"/>
                </a:lnTo>
                <a:lnTo>
                  <a:pt x="0" y="6011228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30000">
                <a:schemeClr val="accent3"/>
              </a:gs>
            </a:gsLst>
            <a:lin ang="42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de-DE" dirty="0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2F32E86F-3314-7E4D-B59B-0DD31214E662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CCFB086-CD31-BB06-20C2-097F779638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8400" y="727200"/>
            <a:ext cx="8044175" cy="590931"/>
          </a:xfrm>
        </p:spPr>
        <p:txBody>
          <a:bodyPr vert="horz" wrap="square" lIns="90000" tIns="45720" rIns="91440" bIns="4572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4D03D15-1C5C-2A09-7BDC-64DD041539E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68400" y="1612800"/>
            <a:ext cx="8044175" cy="2708434"/>
          </a:xfrm>
        </p:spPr>
        <p:txBody>
          <a:bodyPr wrap="square" lIns="9000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  <a:endParaRPr lang="en-US" dirty="0"/>
          </a:p>
        </p:txBody>
      </p:sp>
      <p:pic>
        <p:nvPicPr>
          <p:cNvPr id="17" name="Grafik 16" descr="Die Icon zeigt eine rote achteckige Fläche mit einer weißen Checkliste.">
            <a:extLst>
              <a:ext uri="{FF2B5EF4-FFF2-40B4-BE49-F238E27FC236}">
                <a16:creationId xmlns:a16="http://schemas.microsoft.com/office/drawing/2014/main" id="{8697113A-8C2D-F940-ADF8-B905D89DC21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0856" y="1474035"/>
            <a:ext cx="1631188" cy="1456182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8280246-5A61-F2F5-DEAC-C0DB0EBE317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E987571-B26B-1479-6ABD-B54D5E986BA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26503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Rand schmal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6BF47A-852D-B5F3-489E-CDF3C35D38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01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6BF47A-852D-B5F3-489E-CDF3C35D38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Freihandform 39">
            <a:extLst>
              <a:ext uri="{FF2B5EF4-FFF2-40B4-BE49-F238E27FC236}">
                <a16:creationId xmlns:a16="http://schemas.microsoft.com/office/drawing/2014/main" id="{D221979D-4306-E01C-780A-59C5823ECC01}"/>
              </a:ext>
            </a:extLst>
          </p:cNvPr>
          <p:cNvSpPr/>
          <p:nvPr userDrawn="1"/>
        </p:nvSpPr>
        <p:spPr>
          <a:xfrm>
            <a:off x="9114426" y="0"/>
            <a:ext cx="3089574" cy="6027962"/>
          </a:xfrm>
          <a:custGeom>
            <a:avLst/>
            <a:gdLst>
              <a:gd name="connsiteX0" fmla="*/ 2061148 w 3089574"/>
              <a:gd name="connsiteY0" fmla="*/ 0 h 6021388"/>
              <a:gd name="connsiteX1" fmla="*/ 3089574 w 3089574"/>
              <a:gd name="connsiteY1" fmla="*/ 0 h 6021388"/>
              <a:gd name="connsiteX2" fmla="*/ 3089574 w 3089574"/>
              <a:gd name="connsiteY2" fmla="*/ 6021388 h 6021388"/>
              <a:gd name="connsiteX3" fmla="*/ 0 w 3089574"/>
              <a:gd name="connsiteY3" fmla="*/ 6021388 h 6021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9574" h="6021388">
                <a:moveTo>
                  <a:pt x="2061148" y="0"/>
                </a:moveTo>
                <a:lnTo>
                  <a:pt x="3089574" y="0"/>
                </a:lnTo>
                <a:lnTo>
                  <a:pt x="3089574" y="6021388"/>
                </a:lnTo>
                <a:lnTo>
                  <a:pt x="0" y="6021388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80000">
                <a:schemeClr val="accent1"/>
              </a:gs>
              <a:gs pos="0">
                <a:schemeClr val="accent3"/>
              </a:gs>
            </a:gsLst>
            <a:lin ang="42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B8034BE2-8CE6-3D41-8EAE-43476D4FA00C}"/>
              </a:ext>
            </a:extLst>
          </p:cNvPr>
          <p:cNvSpPr txBox="1">
            <a:spLocks/>
          </p:cNvSpPr>
          <p:nvPr userDrawn="1"/>
        </p:nvSpPr>
        <p:spPr>
          <a:xfrm>
            <a:off x="570630" y="756854"/>
            <a:ext cx="10924565" cy="54927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rtl="0"/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107244D-1EAC-AA46-B92E-31D5E9A91F80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3758D43-D92B-96C2-BE7B-3E7C34A9C3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800" y="1612800"/>
            <a:ext cx="8692396" cy="2708434"/>
          </a:xfrm>
        </p:spPr>
        <p:txBody>
          <a:bodyPr wrap="square" lIns="9000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A2DA2F1-3CFC-C568-1257-2E2B034E03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BB952E-3C7F-807E-DF3D-0079E5A2EFD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98CDC60-0801-40B7-AAA3-4099FCCDBE8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48270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Bild brei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0E101D-4B21-1146-67E5-30F3B3BCE3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6040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0E101D-4B21-1146-67E5-30F3B3BCE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EA050340-8A0C-69E6-877B-59DB7CF321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2126" r="4198"/>
          <a:stretch/>
        </p:blipFill>
        <p:spPr>
          <a:xfrm>
            <a:off x="6450681" y="0"/>
            <a:ext cx="5745496" cy="6021387"/>
          </a:xfrm>
          <a:custGeom>
            <a:avLst/>
            <a:gdLst>
              <a:gd name="connsiteX0" fmla="*/ 2061147 w 5745496"/>
              <a:gd name="connsiteY0" fmla="*/ 0 h 6021387"/>
              <a:gd name="connsiteX1" fmla="*/ 5745496 w 5745496"/>
              <a:gd name="connsiteY1" fmla="*/ 0 h 6021387"/>
              <a:gd name="connsiteX2" fmla="*/ 5745496 w 5745496"/>
              <a:gd name="connsiteY2" fmla="*/ 6021387 h 6021387"/>
              <a:gd name="connsiteX3" fmla="*/ 0 w 5745496"/>
              <a:gd name="connsiteY3" fmla="*/ 6021387 h 602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5496" h="6021387">
                <a:moveTo>
                  <a:pt x="2061147" y="0"/>
                </a:moveTo>
                <a:lnTo>
                  <a:pt x="5745496" y="0"/>
                </a:lnTo>
                <a:lnTo>
                  <a:pt x="5745496" y="6021387"/>
                </a:lnTo>
                <a:lnTo>
                  <a:pt x="0" y="6021387"/>
                </a:lnTo>
                <a:close/>
              </a:path>
            </a:pathLst>
          </a:cu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35E89297-FF7B-9C4B-A26F-0FDCFAA9A0FE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5CBBD3-A39E-6C3F-4A6C-39AB7A781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7200"/>
            <a:ext cx="6049506" cy="590931"/>
          </a:xfrm>
        </p:spPr>
        <p:txBody>
          <a:bodyPr vert="horz" wrap="square" lIns="90000" anchor="b" anchorCtr="0">
            <a:spAutoFit/>
          </a:bodyPr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8B070AC-F4D0-37CE-A21D-4857B2B675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800" y="1612800"/>
            <a:ext cx="6049506" cy="2643288"/>
          </a:xfrm>
        </p:spPr>
        <p:txBody>
          <a:bodyPr wrap="square" lIns="9000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A8706E7-E53F-E4FA-3A84-3D0547DE6B3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03F7F77-606F-1DCF-127C-AAE2D5578E7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35754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Platzhalter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0E101D-4B21-1146-67E5-30F3B3BCE3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6706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0E101D-4B21-1146-67E5-30F3B3BCE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35E89297-FF7B-9C4B-A26F-0FDCFAA9A0FE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5CBBD3-A39E-6C3F-4A6C-39AB7A781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7200"/>
            <a:ext cx="6049506" cy="590931"/>
          </a:xfrm>
        </p:spPr>
        <p:txBody>
          <a:bodyPr vert="horz" wrap="square" lIns="90000" anchor="b" anchorCtr="0">
            <a:spAutoFit/>
          </a:bodyPr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8B070AC-F4D0-37CE-A21D-4857B2B675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800" y="1612800"/>
            <a:ext cx="6049506" cy="2643288"/>
          </a:xfrm>
        </p:spPr>
        <p:txBody>
          <a:bodyPr wrap="square" lIns="9000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4" name="Bildplatzhalter 12">
            <a:extLst>
              <a:ext uri="{FF2B5EF4-FFF2-40B4-BE49-F238E27FC236}">
                <a16:creationId xmlns:a16="http://schemas.microsoft.com/office/drawing/2014/main" id="{66C78100-4AEF-49DA-8D4F-2575BA402BD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45654" y="0"/>
            <a:ext cx="5758346" cy="6021387"/>
          </a:xfrm>
          <a:custGeom>
            <a:avLst/>
            <a:gdLst>
              <a:gd name="connsiteX0" fmla="*/ 2061147 w 5704343"/>
              <a:gd name="connsiteY0" fmla="*/ 0 h 6021387"/>
              <a:gd name="connsiteX1" fmla="*/ 5704343 w 5704343"/>
              <a:gd name="connsiteY1" fmla="*/ 0 h 6021387"/>
              <a:gd name="connsiteX2" fmla="*/ 5704343 w 5704343"/>
              <a:gd name="connsiteY2" fmla="*/ 6021387 h 6021387"/>
              <a:gd name="connsiteX3" fmla="*/ 0 w 5704343"/>
              <a:gd name="connsiteY3" fmla="*/ 6021387 h 602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4343" h="6021387">
                <a:moveTo>
                  <a:pt x="2061147" y="0"/>
                </a:moveTo>
                <a:lnTo>
                  <a:pt x="5704343" y="0"/>
                </a:lnTo>
                <a:lnTo>
                  <a:pt x="5704343" y="6021387"/>
                </a:lnTo>
                <a:lnTo>
                  <a:pt x="0" y="6021387"/>
                </a:lnTo>
                <a:close/>
              </a:path>
            </a:pathLst>
          </a:custGeom>
          <a:pattFill prst="wdUpDiag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marL="0" indent="0" algn="r">
              <a:buNone/>
              <a:defRPr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4A8A055-E007-CA4D-9BCA-46F0049FCF9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69E2B7-EA16-3C43-907D-4B1265B2795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19096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Rand schmal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0E101D-4B21-1146-67E5-30F3B3BCE3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3587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0E101D-4B21-1146-67E5-30F3B3BCE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ihandform 12">
            <a:extLst>
              <a:ext uri="{FF2B5EF4-FFF2-40B4-BE49-F238E27FC236}">
                <a16:creationId xmlns:a16="http://schemas.microsoft.com/office/drawing/2014/main" id="{A953ABC9-1CBA-8A25-D3A5-2B7607E9ED48}"/>
              </a:ext>
            </a:extLst>
          </p:cNvPr>
          <p:cNvSpPr/>
          <p:nvPr userDrawn="1"/>
        </p:nvSpPr>
        <p:spPr>
          <a:xfrm>
            <a:off x="0" y="0"/>
            <a:ext cx="2540572" cy="6021387"/>
          </a:xfrm>
          <a:custGeom>
            <a:avLst/>
            <a:gdLst>
              <a:gd name="connsiteX0" fmla="*/ 0 w 2540572"/>
              <a:gd name="connsiteY0" fmla="*/ 0 h 6021387"/>
              <a:gd name="connsiteX1" fmla="*/ 479425 w 2540572"/>
              <a:gd name="connsiteY1" fmla="*/ 0 h 6021387"/>
              <a:gd name="connsiteX2" fmla="*/ 2540572 w 2540572"/>
              <a:gd name="connsiteY2" fmla="*/ 6021387 h 6021387"/>
              <a:gd name="connsiteX3" fmla="*/ 0 w 2540572"/>
              <a:gd name="connsiteY3" fmla="*/ 6021387 h 602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40572" h="6021387">
                <a:moveTo>
                  <a:pt x="0" y="0"/>
                </a:moveTo>
                <a:lnTo>
                  <a:pt x="479425" y="0"/>
                </a:lnTo>
                <a:lnTo>
                  <a:pt x="2540572" y="6021387"/>
                </a:lnTo>
                <a:lnTo>
                  <a:pt x="0" y="6021387"/>
                </a:lnTo>
                <a:close/>
              </a:path>
            </a:pathLst>
          </a:custGeom>
          <a:gradFill flip="none" rotWithShape="1">
            <a:gsLst>
              <a:gs pos="100000">
                <a:schemeClr val="accent1"/>
              </a:gs>
              <a:gs pos="80000">
                <a:schemeClr val="accent1"/>
              </a:gs>
              <a:gs pos="15000">
                <a:schemeClr val="accent3"/>
              </a:gs>
            </a:gsLst>
            <a:lin ang="4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5E89297-FF7B-9C4B-A26F-0FDCFAA9A0FE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5CBBD3-A39E-6C3F-4A6C-39AB7A781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91372" y="727200"/>
            <a:ext cx="9121204" cy="590931"/>
          </a:xfrm>
        </p:spPr>
        <p:txBody>
          <a:bodyPr vert="horz" lIns="90000" tIns="45720" rIns="91440" bIns="45720" rtlCol="0" anchor="b">
            <a:spAutoFit/>
          </a:bodyPr>
          <a:lstStyle>
            <a:lvl1pPr>
              <a:defRPr lang="de-DE" dirty="0">
                <a:ln>
                  <a:noFill/>
                </a:ln>
              </a:defRPr>
            </a:lvl1pPr>
          </a:lstStyle>
          <a:p>
            <a:pPr marL="360363" lvl="0" indent="-360363"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</a:pPr>
            <a:r>
              <a:rPr lang="de-DE" dirty="0"/>
              <a:t>Mastertitelformat bearbeiten</a:t>
            </a:r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39E438C2-D54E-5854-A6D0-330EBAE27C2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91370" y="1612800"/>
            <a:ext cx="9121206" cy="2708434"/>
          </a:xfrm>
        </p:spPr>
        <p:txBody>
          <a:bodyPr lIns="90000"/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EB05E75-4FFD-FFBC-D5EA-3E76B9BA06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5930A6E-3719-830B-1330-8EE59D8A3E6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68545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B4EA4DA-1755-4A82-8374-D2876BEA01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7579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B4EA4DA-1755-4A82-8374-D2876BEA01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ihandform 14">
            <a:extLst>
              <a:ext uri="{FF2B5EF4-FFF2-40B4-BE49-F238E27FC236}">
                <a16:creationId xmlns:a16="http://schemas.microsoft.com/office/drawing/2014/main" id="{B566E473-FA6D-6E98-FED7-0573C634DEFE}"/>
              </a:ext>
            </a:extLst>
          </p:cNvPr>
          <p:cNvSpPr/>
          <p:nvPr userDrawn="1"/>
        </p:nvSpPr>
        <p:spPr>
          <a:xfrm>
            <a:off x="1" y="0"/>
            <a:ext cx="3225727" cy="6011228"/>
          </a:xfrm>
          <a:custGeom>
            <a:avLst/>
            <a:gdLst>
              <a:gd name="connsiteX0" fmla="*/ 0 w 3225727"/>
              <a:gd name="connsiteY0" fmla="*/ 0 h 6011228"/>
              <a:gd name="connsiteX1" fmla="*/ 1168058 w 3225727"/>
              <a:gd name="connsiteY1" fmla="*/ 0 h 6011228"/>
              <a:gd name="connsiteX2" fmla="*/ 3225727 w 3225727"/>
              <a:gd name="connsiteY2" fmla="*/ 6011228 h 6011228"/>
              <a:gd name="connsiteX3" fmla="*/ 0 w 3225727"/>
              <a:gd name="connsiteY3" fmla="*/ 6011228 h 601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25727" h="6011228">
                <a:moveTo>
                  <a:pt x="0" y="0"/>
                </a:moveTo>
                <a:lnTo>
                  <a:pt x="1168058" y="0"/>
                </a:lnTo>
                <a:lnTo>
                  <a:pt x="3225727" y="6011228"/>
                </a:lnTo>
                <a:lnTo>
                  <a:pt x="0" y="6011228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30000">
                <a:schemeClr val="accent3"/>
              </a:gs>
            </a:gsLst>
            <a:lin ang="42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EE21698-BEFC-9C46-818D-A938E83AE287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B7A5ABA-07CB-9B0C-B20C-D589EF673E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87199" y="1950056"/>
            <a:ext cx="7034922" cy="1155316"/>
          </a:xfrm>
        </p:spPr>
        <p:txBody>
          <a:bodyPr/>
          <a:lstStyle>
            <a:lvl1pPr marL="0" indent="0" algn="ctr">
              <a:lnSpc>
                <a:spcPts val="3400"/>
              </a:lnSpc>
              <a:buNone/>
              <a:defRPr sz="2800" i="0"/>
            </a:lvl1pPr>
          </a:lstStyle>
          <a:p>
            <a:pPr lvl="0"/>
            <a:r>
              <a:rPr lang="de-DE" dirty="0"/>
              <a:t>Zitat</a:t>
            </a:r>
          </a:p>
          <a:p>
            <a:pPr lvl="0"/>
            <a:r>
              <a:rPr lang="de-DE" dirty="0"/>
              <a:t>Zitatgeber, Jahrgang</a:t>
            </a:r>
          </a:p>
        </p:txBody>
      </p:sp>
      <p:pic>
        <p:nvPicPr>
          <p:cNvPr id="17" name="Grafik 16" descr="Die Icon zeigt eine rote achteckige Fläche mit einem weißen öffnenden Anführungszeichen.">
            <a:extLst>
              <a:ext uri="{FF2B5EF4-FFF2-40B4-BE49-F238E27FC236}">
                <a16:creationId xmlns:a16="http://schemas.microsoft.com/office/drawing/2014/main" id="{A2D0A250-1EB3-2A1D-B4ED-C6BC2E7DE3F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0856" y="1474035"/>
            <a:ext cx="1631188" cy="1456182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CFDB01A-E294-5D6A-1D14-06F89784EF3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896836-B934-09B0-4D3C-6CA3BDA4649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2">
            <a:extLst>
              <a:ext uri="{FF2B5EF4-FFF2-40B4-BE49-F238E27FC236}">
                <a16:creationId xmlns:a16="http://schemas.microsoft.com/office/drawing/2014/main" id="{5C09A77E-7594-939F-884B-E8D65E4105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68400" y="727200"/>
            <a:ext cx="8044175" cy="590931"/>
          </a:xfrm>
        </p:spPr>
        <p:txBody>
          <a:bodyPr vert="horz" wrap="square" lIns="90000" tIns="45720" rIns="91440" bIns="45720" rtlCol="0" anchor="b" anchorCtr="0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Zit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4877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5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EDBBC20-6209-D6EA-B5B3-DD7FCF288B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3681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EDBBC20-6209-D6EA-B5B3-DD7FCF288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>
            <a:extLst>
              <a:ext uri="{FF2B5EF4-FFF2-40B4-BE49-F238E27FC236}">
                <a16:creationId xmlns:a16="http://schemas.microsoft.com/office/drawing/2014/main" id="{5E2EC106-B271-166A-DA65-9AC9F0BE693D}"/>
              </a:ext>
            </a:extLst>
          </p:cNvPr>
          <p:cNvSpPr/>
          <p:nvPr userDrawn="1"/>
        </p:nvSpPr>
        <p:spPr>
          <a:xfrm>
            <a:off x="0" y="0"/>
            <a:ext cx="12191999" cy="6021387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65000">
                <a:schemeClr val="accent1"/>
              </a:gs>
              <a:gs pos="0">
                <a:schemeClr val="accent3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580FFC4-4887-5D45-885C-A06014DB3A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9062" y="1935871"/>
            <a:ext cx="5323802" cy="683077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Herzlich willkomm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129B891-C67D-ED41-97E5-CF810EF006A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9062" y="2798563"/>
            <a:ext cx="5323802" cy="1440490"/>
          </a:xfrm>
        </p:spPr>
        <p:txBody>
          <a:bodyPr lIns="0" tIns="0" rIns="0" bIns="0">
            <a:noAutofit/>
          </a:bodyPr>
          <a:lstStyle>
            <a:lvl1pPr marL="0" indent="0" algn="l" rtl="0">
              <a:lnSpc>
                <a:spcPts val="3000"/>
              </a:lnSpc>
              <a:buNone/>
              <a:defRPr sz="2600" b="0" spc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</a:t>
            </a:r>
          </a:p>
        </p:txBody>
      </p:sp>
      <p:pic>
        <p:nvPicPr>
          <p:cNvPr id="9" name="Grafik 8" descr="Die Grafik zeigt einen blauen geschwungen Bogen. Es ist ein Element aus dem Logo der BIH.">
            <a:extLst>
              <a:ext uri="{FF2B5EF4-FFF2-40B4-BE49-F238E27FC236}">
                <a16:creationId xmlns:a16="http://schemas.microsoft.com/office/drawing/2014/main" id="{6584E4E6-073D-6F4C-8AC3-072AFF67B62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99421" y="441325"/>
            <a:ext cx="4951884" cy="1897859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9082F932-570E-3846-8BDE-EA8314BD9D41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pic>
        <p:nvPicPr>
          <p:cNvPr id="4" name="Grafik 3" descr="Das Foto zeigt einen bärtigen jungen Mann mit Headset. Er blickt auf sein Notebook und notiert etwas einem Schreibblock.">
            <a:extLst>
              <a:ext uri="{FF2B5EF4-FFF2-40B4-BE49-F238E27FC236}">
                <a16:creationId xmlns:a16="http://schemas.microsoft.com/office/drawing/2014/main" id="{6E313923-137E-CE5F-048D-4E8AC538C1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30" r="28158"/>
          <a:stretch/>
        </p:blipFill>
        <p:spPr>
          <a:xfrm>
            <a:off x="6450681" y="0"/>
            <a:ext cx="5745496" cy="6021387"/>
          </a:xfrm>
          <a:custGeom>
            <a:avLst/>
            <a:gdLst>
              <a:gd name="connsiteX0" fmla="*/ 2061147 w 5745496"/>
              <a:gd name="connsiteY0" fmla="*/ 0 h 6021387"/>
              <a:gd name="connsiteX1" fmla="*/ 5745496 w 5745496"/>
              <a:gd name="connsiteY1" fmla="*/ 0 h 6021387"/>
              <a:gd name="connsiteX2" fmla="*/ 5745496 w 5745496"/>
              <a:gd name="connsiteY2" fmla="*/ 6021387 h 6021387"/>
              <a:gd name="connsiteX3" fmla="*/ 0 w 5745496"/>
              <a:gd name="connsiteY3" fmla="*/ 6021387 h 602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5496" h="6021387">
                <a:moveTo>
                  <a:pt x="2061147" y="0"/>
                </a:moveTo>
                <a:lnTo>
                  <a:pt x="5745496" y="0"/>
                </a:lnTo>
                <a:lnTo>
                  <a:pt x="5745496" y="6021387"/>
                </a:lnTo>
                <a:lnTo>
                  <a:pt x="0" y="6021387"/>
                </a:lnTo>
                <a:close/>
              </a:path>
            </a:pathLst>
          </a:custGeom>
        </p:spPr>
      </p:pic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5100AECD-EEBC-87B2-6D4A-2B4EA77975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9062" y="5013457"/>
            <a:ext cx="4951884" cy="55399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m </a:t>
            </a:r>
            <a:r>
              <a:rPr lang="de-DE" dirty="0" err="1"/>
              <a:t>tt.mm.jjjj</a:t>
            </a:r>
            <a:endParaRPr lang="de-DE" dirty="0"/>
          </a:p>
          <a:p>
            <a:pPr lvl="0"/>
            <a:r>
              <a:rPr lang="de-DE" dirty="0"/>
              <a:t>Es grüßt Sie 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968986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5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ga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0AD1259-5EF7-C551-92FB-C7B0D60DDC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4097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0AD1259-5EF7-C551-92FB-C7B0D60DDC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ihandform 16">
            <a:extLst>
              <a:ext uri="{FF2B5EF4-FFF2-40B4-BE49-F238E27FC236}">
                <a16:creationId xmlns:a16="http://schemas.microsoft.com/office/drawing/2014/main" id="{EBE9D39F-B1E3-2261-F555-B82196E2AAF9}"/>
              </a:ext>
            </a:extLst>
          </p:cNvPr>
          <p:cNvSpPr/>
          <p:nvPr userDrawn="1"/>
        </p:nvSpPr>
        <p:spPr>
          <a:xfrm>
            <a:off x="1" y="0"/>
            <a:ext cx="3225727" cy="6011228"/>
          </a:xfrm>
          <a:custGeom>
            <a:avLst/>
            <a:gdLst>
              <a:gd name="connsiteX0" fmla="*/ 0 w 3225727"/>
              <a:gd name="connsiteY0" fmla="*/ 0 h 6011228"/>
              <a:gd name="connsiteX1" fmla="*/ 1168058 w 3225727"/>
              <a:gd name="connsiteY1" fmla="*/ 0 h 6011228"/>
              <a:gd name="connsiteX2" fmla="*/ 3225727 w 3225727"/>
              <a:gd name="connsiteY2" fmla="*/ 6011228 h 6011228"/>
              <a:gd name="connsiteX3" fmla="*/ 0 w 3225727"/>
              <a:gd name="connsiteY3" fmla="*/ 6011228 h 601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25727" h="6011228">
                <a:moveTo>
                  <a:pt x="0" y="0"/>
                </a:moveTo>
                <a:lnTo>
                  <a:pt x="1168058" y="0"/>
                </a:lnTo>
                <a:lnTo>
                  <a:pt x="3225727" y="6011228"/>
                </a:lnTo>
                <a:lnTo>
                  <a:pt x="0" y="6011228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30000">
                <a:schemeClr val="accent3"/>
              </a:gs>
            </a:gsLst>
            <a:lin ang="42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de-DE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86A0F922-174E-5D40-8D23-9966790FCEED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327BF58-CCFC-6B5D-471E-4BC233AB8A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31161" y="1612800"/>
            <a:ext cx="8281414" cy="451406"/>
          </a:xfrm>
        </p:spPr>
        <p:txBody>
          <a:bodyPr lIns="9000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</p:txBody>
      </p:sp>
      <p:pic>
        <p:nvPicPr>
          <p:cNvPr id="15" name="Grafik 14" descr="Die Icon zeigt eine rote achteckige Fläche mit einem weißen Fragezeichen.">
            <a:extLst>
              <a:ext uri="{FF2B5EF4-FFF2-40B4-BE49-F238E27FC236}">
                <a16:creationId xmlns:a16="http://schemas.microsoft.com/office/drawing/2014/main" id="{0F5E820D-0270-8DE6-7421-B09DA342FF1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0856" y="1474035"/>
            <a:ext cx="1631188" cy="1456182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AE37F5E5-9211-FCA3-C1DD-D042608D5E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1160" y="727200"/>
            <a:ext cx="8281415" cy="590931"/>
          </a:xfrm>
        </p:spPr>
        <p:txBody>
          <a:bodyPr vert="horz" wrap="square" lIns="90000" tIns="45720" rIns="91440" bIns="45720" rtlCol="0" anchor="b">
            <a:spAutoFit/>
          </a:bodyPr>
          <a:lstStyle>
            <a:lvl1pPr>
              <a:defRPr lang="de-DE" dirty="0">
                <a:ln>
                  <a:noFill/>
                </a:ln>
              </a:defRPr>
            </a:lvl1pPr>
          </a:lstStyle>
          <a:p>
            <a:pPr marL="360363" lvl="0" indent="-360363"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</a:pPr>
            <a:r>
              <a:rPr lang="de-DE" dirty="0"/>
              <a:t>Mastertitel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ABA2820-A65E-5AE5-F343-799F9CE7FBF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339EF2-5B37-95A3-849C-6FC5F456175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1821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5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0E101D-4B21-1146-67E5-30F3B3BCE3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3175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0E101D-4B21-1146-67E5-30F3B3BCE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BD631CF4-DE77-9DDF-0015-62F6F47245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-9053" y="1742674"/>
            <a:ext cx="3034800" cy="276999"/>
          </a:xfrm>
        </p:spPr>
        <p:txBody>
          <a:bodyPr lIns="0" tIns="0" rIns="0" bIns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BB37DC57-22F5-A781-6D48-1706B73598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8792" y="1742674"/>
            <a:ext cx="2510743" cy="276999"/>
          </a:xfrm>
        </p:spPr>
        <p:txBody>
          <a:bodyPr lIns="0" tIns="0" rIns="0" bIns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246BDFFF-2ABC-1408-130E-C617FAE130C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45663" y="1742674"/>
            <a:ext cx="2510743" cy="276999"/>
          </a:xfrm>
        </p:spPr>
        <p:txBody>
          <a:bodyPr lIns="0" tIns="0" rIns="0" bIns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5E89297-FF7B-9C4B-A26F-0FDCFAA9A0FE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5CBBD3-A39E-6C3F-4A6C-39AB7A781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8663"/>
            <a:ext cx="11233775" cy="590931"/>
          </a:xfrm>
        </p:spPr>
        <p:txBody>
          <a:bodyPr vert="horz" wrap="square" lIns="90000" tIns="45720" rIns="91440" bIns="45720" rtlCol="0" anchor="b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610A1BF-2051-4516-F02A-3F857B25B7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0696" y="4895546"/>
            <a:ext cx="2152072" cy="276999"/>
          </a:xfr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F456FE46-9FAA-B5E5-9108-0CA81658C0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03855" y="4912370"/>
            <a:ext cx="2512706" cy="276999"/>
          </a:xfr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0ACBD05-E6F9-5C06-F999-AE93ACE8F9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43700" y="4899302"/>
            <a:ext cx="2512706" cy="276999"/>
          </a:xfr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6530EE2-8C75-70DF-EF9C-C2131630DBB9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29F15B3-F99A-5480-8359-23B2560EEC38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9" name="Gruppieren 8" descr="Linienform: Eine lange waagerechte Linie mit drei kleinen senkrechten Linien symbolisiert eine Schiene zum Aufhängen von Bilderrahmen.">
            <a:extLst>
              <a:ext uri="{FF2B5EF4-FFF2-40B4-BE49-F238E27FC236}">
                <a16:creationId xmlns:a16="http://schemas.microsoft.com/office/drawing/2014/main" id="{4A91B273-1A36-580B-1BC0-A889B129CD6E}"/>
              </a:ext>
            </a:extLst>
          </p:cNvPr>
          <p:cNvGrpSpPr/>
          <p:nvPr userDrawn="1"/>
        </p:nvGrpSpPr>
        <p:grpSpPr>
          <a:xfrm>
            <a:off x="0" y="2146456"/>
            <a:ext cx="9270000" cy="270000"/>
            <a:chOff x="0" y="2146456"/>
            <a:chExt cx="9270000" cy="270000"/>
          </a:xfrm>
        </p:grpSpPr>
        <p:cxnSp>
          <p:nvCxnSpPr>
            <p:cNvPr id="26" name="Gerader Verbinder 25" descr="Eine gerade Linie.">
              <a:extLst>
                <a:ext uri="{FF2B5EF4-FFF2-40B4-BE49-F238E27FC236}">
                  <a16:creationId xmlns:a16="http://schemas.microsoft.com/office/drawing/2014/main" id="{8495CEBD-E4B8-8E43-E20E-B4A9A4664708}"/>
                </a:ext>
              </a:extLst>
            </p:cNvPr>
            <p:cNvCxnSpPr/>
            <p:nvPr userDrawn="1"/>
          </p:nvCxnSpPr>
          <p:spPr>
            <a:xfrm>
              <a:off x="0" y="2146456"/>
              <a:ext cx="9270000" cy="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91FE2353-793B-FF21-CE53-0FFE6FD9A457}"/>
                </a:ext>
              </a:extLst>
            </p:cNvPr>
            <p:cNvCxnSpPr/>
            <p:nvPr userDrawn="1"/>
          </p:nvCxnSpPr>
          <p:spPr>
            <a:xfrm>
              <a:off x="1502875" y="2146456"/>
              <a:ext cx="0" cy="27000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0CAEA9DD-D12F-B289-4073-564DF5092926}"/>
                </a:ext>
              </a:extLst>
            </p:cNvPr>
            <p:cNvCxnSpPr/>
            <p:nvPr userDrawn="1"/>
          </p:nvCxnSpPr>
          <p:spPr>
            <a:xfrm>
              <a:off x="4860208" y="2146456"/>
              <a:ext cx="0" cy="27000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F6E87ADB-37CB-B385-C6EE-2D1836DEA996}"/>
                </a:ext>
              </a:extLst>
            </p:cNvPr>
            <p:cNvCxnSpPr/>
            <p:nvPr userDrawn="1"/>
          </p:nvCxnSpPr>
          <p:spPr>
            <a:xfrm>
              <a:off x="8009305" y="2146456"/>
              <a:ext cx="0" cy="270000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Freihandform 39">
            <a:extLst>
              <a:ext uri="{FF2B5EF4-FFF2-40B4-BE49-F238E27FC236}">
                <a16:creationId xmlns:a16="http://schemas.microsoft.com/office/drawing/2014/main" id="{F6EFDDA4-BE1D-DE5B-3FD0-B21C2427AADB}"/>
              </a:ext>
            </a:extLst>
          </p:cNvPr>
          <p:cNvSpPr/>
          <p:nvPr userDrawn="1"/>
        </p:nvSpPr>
        <p:spPr>
          <a:xfrm>
            <a:off x="9114426" y="0"/>
            <a:ext cx="3089574" cy="6027962"/>
          </a:xfrm>
          <a:custGeom>
            <a:avLst/>
            <a:gdLst>
              <a:gd name="connsiteX0" fmla="*/ 2061148 w 3089574"/>
              <a:gd name="connsiteY0" fmla="*/ 0 h 6021388"/>
              <a:gd name="connsiteX1" fmla="*/ 3089574 w 3089574"/>
              <a:gd name="connsiteY1" fmla="*/ 0 h 6021388"/>
              <a:gd name="connsiteX2" fmla="*/ 3089574 w 3089574"/>
              <a:gd name="connsiteY2" fmla="*/ 6021388 h 6021388"/>
              <a:gd name="connsiteX3" fmla="*/ 0 w 3089574"/>
              <a:gd name="connsiteY3" fmla="*/ 6021388 h 6021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9574" h="6021388">
                <a:moveTo>
                  <a:pt x="2061148" y="0"/>
                </a:moveTo>
                <a:lnTo>
                  <a:pt x="3089574" y="0"/>
                </a:lnTo>
                <a:lnTo>
                  <a:pt x="3089574" y="6021388"/>
                </a:lnTo>
                <a:lnTo>
                  <a:pt x="0" y="6021388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80000">
                <a:schemeClr val="accent1"/>
              </a:gs>
              <a:gs pos="0">
                <a:schemeClr val="accent3"/>
              </a:gs>
            </a:gsLst>
            <a:lin ang="42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40" name="Textplatzhalter 3">
            <a:extLst>
              <a:ext uri="{FF2B5EF4-FFF2-40B4-BE49-F238E27FC236}">
                <a16:creationId xmlns:a16="http://schemas.microsoft.com/office/drawing/2014/main" id="{1249CC48-4F06-D69C-861E-2422D591867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04000" y="4899600"/>
            <a:ext cx="2700000" cy="276999"/>
          </a:xfrm>
        </p:spPr>
        <p:txBody>
          <a:bodyPr lIns="0" tIns="0" rIns="118800" bIns="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2" name="Textplatzhalter 3">
            <a:extLst>
              <a:ext uri="{FF2B5EF4-FFF2-40B4-BE49-F238E27FC236}">
                <a16:creationId xmlns:a16="http://schemas.microsoft.com/office/drawing/2014/main" id="{39D9F5EC-D98B-07A8-F1B4-296C7D5DA20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584000" y="1742400"/>
            <a:ext cx="1620000" cy="276999"/>
          </a:xfrm>
        </p:spPr>
        <p:txBody>
          <a:bodyPr lIns="0" tIns="0" rIns="11880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6" name="Rechteck 5" descr="Rahmen für das Bild der Vertrauensperson">
            <a:extLst>
              <a:ext uri="{FF2B5EF4-FFF2-40B4-BE49-F238E27FC236}">
                <a16:creationId xmlns:a16="http://schemas.microsoft.com/office/drawing/2014/main" id="{455AB3E9-76DE-502F-713B-6758BF0AB879}"/>
              </a:ext>
            </a:extLst>
          </p:cNvPr>
          <p:cNvSpPr/>
          <p:nvPr userDrawn="1"/>
        </p:nvSpPr>
        <p:spPr>
          <a:xfrm>
            <a:off x="621617" y="2417098"/>
            <a:ext cx="1783532" cy="234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hteck 6" descr="Rahmen für das Bild der 1. Stellvertretung">
            <a:extLst>
              <a:ext uri="{FF2B5EF4-FFF2-40B4-BE49-F238E27FC236}">
                <a16:creationId xmlns:a16="http://schemas.microsoft.com/office/drawing/2014/main" id="{3BC9F077-FF22-ABA8-EADE-62568A6DA566}"/>
              </a:ext>
            </a:extLst>
          </p:cNvPr>
          <p:cNvSpPr/>
          <p:nvPr userDrawn="1"/>
        </p:nvSpPr>
        <p:spPr>
          <a:xfrm>
            <a:off x="3969168" y="2417098"/>
            <a:ext cx="1783532" cy="234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hteck 7" descr="Rahmen für das Bild der 2. Stellvertretung">
            <a:extLst>
              <a:ext uri="{FF2B5EF4-FFF2-40B4-BE49-F238E27FC236}">
                <a16:creationId xmlns:a16="http://schemas.microsoft.com/office/drawing/2014/main" id="{FB9F17FB-820B-47D0-4C35-D21A3C1E3116}"/>
              </a:ext>
            </a:extLst>
          </p:cNvPr>
          <p:cNvSpPr/>
          <p:nvPr userDrawn="1"/>
        </p:nvSpPr>
        <p:spPr>
          <a:xfrm>
            <a:off x="7129878" y="2423768"/>
            <a:ext cx="1783532" cy="234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90663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3B59B4-3D3E-B773-7DBB-43CF077C16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2446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3B59B4-3D3E-B773-7DBB-43CF077C1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FDDB12EC-C849-CC67-4ED6-8224FEC547F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800" y="1612800"/>
            <a:ext cx="5886949" cy="2708434"/>
          </a:xfrm>
        </p:spPr>
        <p:txBody>
          <a:bodyPr lIns="90000"/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12B6CE1-1412-8640-AE96-397211B9961D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5C47D68-8588-7AB3-AE2C-A812B458D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7200"/>
            <a:ext cx="5886949" cy="590931"/>
          </a:xfrm>
        </p:spPr>
        <p:txBody>
          <a:bodyPr vert="horz" wrap="square" lIns="90000" anchor="b" anchorCtr="0">
            <a:spAutoFit/>
          </a:bodyPr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pic>
        <p:nvPicPr>
          <p:cNvPr id="5" name="Grafik 4" descr="Das Foto zeigt eine junge Frau, die mit einer anderen Person in Gebärdensprache  kommuniziert. Von der anderen Person sind nur die Hände zu sehen.">
            <a:extLst>
              <a:ext uri="{FF2B5EF4-FFF2-40B4-BE49-F238E27FC236}">
                <a16:creationId xmlns:a16="http://schemas.microsoft.com/office/drawing/2014/main" id="{C70C582E-6458-5DE7-B4EC-3D0A050B3D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26" r="33730"/>
          <a:stretch/>
        </p:blipFill>
        <p:spPr>
          <a:xfrm>
            <a:off x="6446504" y="0"/>
            <a:ext cx="5745600" cy="6021387"/>
          </a:xfrm>
          <a:custGeom>
            <a:avLst/>
            <a:gdLst>
              <a:gd name="connsiteX0" fmla="*/ 2061147 w 5745496"/>
              <a:gd name="connsiteY0" fmla="*/ 0 h 6021387"/>
              <a:gd name="connsiteX1" fmla="*/ 5745496 w 5745496"/>
              <a:gd name="connsiteY1" fmla="*/ 0 h 6021387"/>
              <a:gd name="connsiteX2" fmla="*/ 5745496 w 5745496"/>
              <a:gd name="connsiteY2" fmla="*/ 6021387 h 6021387"/>
              <a:gd name="connsiteX3" fmla="*/ 0 w 5745496"/>
              <a:gd name="connsiteY3" fmla="*/ 6021387 h 602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5496" h="6021387">
                <a:moveTo>
                  <a:pt x="2061147" y="0"/>
                </a:moveTo>
                <a:lnTo>
                  <a:pt x="5745496" y="0"/>
                </a:lnTo>
                <a:lnTo>
                  <a:pt x="5745496" y="6021387"/>
                </a:lnTo>
                <a:lnTo>
                  <a:pt x="0" y="6021387"/>
                </a:lnTo>
                <a:close/>
              </a:path>
            </a:pathLst>
          </a:custGeom>
        </p:spPr>
      </p:pic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76CB7F3-B5AD-C0DC-0409-36792466D27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54FD656-B4F7-0B55-1F8E-5B3F7C2A520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5716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5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E4F432-AAAF-2215-63C9-E81DECFF15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9712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E4F432-AAAF-2215-63C9-E81DECFF15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4FA33DB9-49AA-0E41-BF05-9D536FDA9D34}"/>
              </a:ext>
            </a:extLst>
          </p:cNvPr>
          <p:cNvSpPr/>
          <p:nvPr userDrawn="1"/>
        </p:nvSpPr>
        <p:spPr>
          <a:xfrm>
            <a:off x="0" y="0"/>
            <a:ext cx="12191999" cy="6021387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65000">
                <a:schemeClr val="accent1"/>
              </a:gs>
              <a:gs pos="0">
                <a:schemeClr val="accent3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580FFC4-4887-5D45-885C-A06014DB3A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976101" y="1935871"/>
            <a:ext cx="6526491" cy="1661993"/>
          </a:xfrm>
        </p:spPr>
        <p:txBody>
          <a:bodyPr vert="horz" lIns="0" tIns="0" rIns="0" bIns="0" anchor="t" anchorCtr="0">
            <a:spAutoFit/>
          </a:bodyPr>
          <a:lstStyle>
            <a:lvl1pPr algn="l" rtl="0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Wir bedanken uns für Ihr Interess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584E4E6-073D-6F4C-8AC3-072AFF67B62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79425" y="441325"/>
            <a:ext cx="4951884" cy="1897858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F384A50D-1DE2-8A4C-B80A-90769016F1C5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9059F48-B3D1-6524-F8C8-AFDBE3C921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1055ACF-DB89-6E04-7DD7-BC9FC3A0F5D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42538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5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EDBBC20-6209-D6EA-B5B3-DD7FCF288B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5978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EDBBC20-6209-D6EA-B5B3-DD7FCF288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>
            <a:extLst>
              <a:ext uri="{FF2B5EF4-FFF2-40B4-BE49-F238E27FC236}">
                <a16:creationId xmlns:a16="http://schemas.microsoft.com/office/drawing/2014/main" id="{5E2EC106-B271-166A-DA65-9AC9F0BE693D}"/>
              </a:ext>
            </a:extLst>
          </p:cNvPr>
          <p:cNvSpPr/>
          <p:nvPr userDrawn="1"/>
        </p:nvSpPr>
        <p:spPr>
          <a:xfrm>
            <a:off x="0" y="0"/>
            <a:ext cx="12191999" cy="6021387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65000">
                <a:schemeClr val="accent1"/>
              </a:gs>
              <a:gs pos="0">
                <a:schemeClr val="accent3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580FFC4-4887-5D45-885C-A06014DB3A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9062" y="1935871"/>
            <a:ext cx="5323802" cy="683077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Herzlich willkomm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129B891-C67D-ED41-97E5-CF810EF006A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9061" y="2798563"/>
            <a:ext cx="5323803" cy="1440490"/>
          </a:xfrm>
        </p:spPr>
        <p:txBody>
          <a:bodyPr lIns="0" tIns="0" rIns="0" bIns="0">
            <a:noAutofit/>
          </a:bodyPr>
          <a:lstStyle>
            <a:lvl1pPr marL="0" indent="0" algn="l" rtl="0">
              <a:lnSpc>
                <a:spcPts val="3000"/>
              </a:lnSpc>
              <a:buNone/>
              <a:defRPr sz="2600" b="0" spc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584E4E6-073D-6F4C-8AC3-072AFF67B62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99421" y="441325"/>
            <a:ext cx="4951884" cy="1897859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9082F932-570E-3846-8BDE-EA8314BD9D41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pic>
        <p:nvPicPr>
          <p:cNvPr id="4" name="Grafik 3" descr="Das Foto zeigt eine junge Frau mit Brille. Sie steht an einem Moderationspult und begrüßt freundlich lächelnd das Publikum.">
            <a:extLst>
              <a:ext uri="{FF2B5EF4-FFF2-40B4-BE49-F238E27FC236}">
                <a16:creationId xmlns:a16="http://schemas.microsoft.com/office/drawing/2014/main" id="{3652E0C5-EABD-34F5-3123-6F983D0D2B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69" r="25371"/>
          <a:stretch/>
        </p:blipFill>
        <p:spPr>
          <a:xfrm>
            <a:off x="6450681" y="0"/>
            <a:ext cx="5745496" cy="6021387"/>
          </a:xfrm>
          <a:custGeom>
            <a:avLst/>
            <a:gdLst>
              <a:gd name="connsiteX0" fmla="*/ 2061147 w 5745496"/>
              <a:gd name="connsiteY0" fmla="*/ 0 h 6021387"/>
              <a:gd name="connsiteX1" fmla="*/ 5745496 w 5745496"/>
              <a:gd name="connsiteY1" fmla="*/ 0 h 6021387"/>
              <a:gd name="connsiteX2" fmla="*/ 5745496 w 5745496"/>
              <a:gd name="connsiteY2" fmla="*/ 6021387 h 6021387"/>
              <a:gd name="connsiteX3" fmla="*/ 0 w 5745496"/>
              <a:gd name="connsiteY3" fmla="*/ 6021387 h 602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45496" h="6021387">
                <a:moveTo>
                  <a:pt x="2061147" y="0"/>
                </a:moveTo>
                <a:lnTo>
                  <a:pt x="5745496" y="0"/>
                </a:lnTo>
                <a:lnTo>
                  <a:pt x="5745496" y="6021387"/>
                </a:lnTo>
                <a:lnTo>
                  <a:pt x="0" y="6021387"/>
                </a:lnTo>
                <a:close/>
              </a:path>
            </a:pathLst>
          </a:custGeom>
        </p:spPr>
      </p:pic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83B34CEC-A144-56A0-3792-B68E535057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9062" y="5013457"/>
            <a:ext cx="4951884" cy="55399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m </a:t>
            </a:r>
            <a:r>
              <a:rPr lang="de-DE" dirty="0" err="1"/>
              <a:t>tt.mm.jjjj</a:t>
            </a:r>
            <a:endParaRPr lang="de-DE" dirty="0"/>
          </a:p>
          <a:p>
            <a:pPr lvl="0"/>
            <a:r>
              <a:rPr lang="de-DE" dirty="0"/>
              <a:t>Es grüßt Sie 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1185811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5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- Platzhalte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EDBBC20-6209-D6EA-B5B3-DD7FCF288B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6345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EDBBC20-6209-D6EA-B5B3-DD7FCF288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>
            <a:extLst>
              <a:ext uri="{FF2B5EF4-FFF2-40B4-BE49-F238E27FC236}">
                <a16:creationId xmlns:a16="http://schemas.microsoft.com/office/drawing/2014/main" id="{5E2EC106-B271-166A-DA65-9AC9F0BE693D}"/>
              </a:ext>
            </a:extLst>
          </p:cNvPr>
          <p:cNvSpPr/>
          <p:nvPr userDrawn="1"/>
        </p:nvSpPr>
        <p:spPr>
          <a:xfrm>
            <a:off x="0" y="0"/>
            <a:ext cx="12191999" cy="6021387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65000">
                <a:schemeClr val="accent1"/>
              </a:gs>
              <a:gs pos="0">
                <a:schemeClr val="accent3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580FFC4-4887-5D45-885C-A06014DB3A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9062" y="1935871"/>
            <a:ext cx="5323802" cy="683077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Herzlich willkomm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129B891-C67D-ED41-97E5-CF810EF006A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9061" y="2798563"/>
            <a:ext cx="5323803" cy="1440490"/>
          </a:xfrm>
        </p:spPr>
        <p:txBody>
          <a:bodyPr lIns="0" tIns="0" rIns="0" bIns="0">
            <a:noAutofit/>
          </a:bodyPr>
          <a:lstStyle>
            <a:lvl1pPr marL="0" indent="0" algn="l" rtl="0">
              <a:lnSpc>
                <a:spcPts val="3000"/>
              </a:lnSpc>
              <a:buNone/>
              <a:defRPr sz="2600" b="0" spc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</a:t>
            </a:r>
          </a:p>
        </p:txBody>
      </p:sp>
      <p:pic>
        <p:nvPicPr>
          <p:cNvPr id="9" name="Grafik 8" descr="Die Grafik zeigt einen blauen geschwungen Bogen. Es ist ein Element aus dem Logo der BIH.">
            <a:extLst>
              <a:ext uri="{FF2B5EF4-FFF2-40B4-BE49-F238E27FC236}">
                <a16:creationId xmlns:a16="http://schemas.microsoft.com/office/drawing/2014/main" id="{6584E4E6-073D-6F4C-8AC3-072AFF67B62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99421" y="441325"/>
            <a:ext cx="4951884" cy="1897859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9082F932-570E-3846-8BDE-EA8314BD9D41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83B34CEC-A144-56A0-3792-B68E535057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9062" y="5013457"/>
            <a:ext cx="4951884" cy="553998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m </a:t>
            </a:r>
            <a:r>
              <a:rPr lang="de-DE" dirty="0" err="1"/>
              <a:t>tt.mm.jjjj</a:t>
            </a:r>
            <a:endParaRPr lang="de-DE" dirty="0"/>
          </a:p>
          <a:p>
            <a:pPr lvl="0"/>
            <a:r>
              <a:rPr lang="de-DE" dirty="0"/>
              <a:t>Es grüßt Sie Vorname Nachname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393A1C8-D443-4A1C-CC53-87E5D9BA69F4}"/>
              </a:ext>
            </a:extLst>
          </p:cNvPr>
          <p:cNvSpPr/>
          <p:nvPr userDrawn="1"/>
        </p:nvSpPr>
        <p:spPr>
          <a:xfrm>
            <a:off x="1854994" y="6292344"/>
            <a:ext cx="929481" cy="383411"/>
          </a:xfrm>
          <a:prstGeom prst="rect">
            <a:avLst/>
          </a:prstGeom>
          <a:pattFill prst="wdUp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Platzhalter für 2. Logo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8B2A71B8-CF02-A9E6-FFA6-3B602796816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445654" y="0"/>
            <a:ext cx="5758346" cy="6021387"/>
          </a:xfrm>
          <a:custGeom>
            <a:avLst/>
            <a:gdLst>
              <a:gd name="connsiteX0" fmla="*/ 2061147 w 5704343"/>
              <a:gd name="connsiteY0" fmla="*/ 0 h 6021387"/>
              <a:gd name="connsiteX1" fmla="*/ 5704343 w 5704343"/>
              <a:gd name="connsiteY1" fmla="*/ 0 h 6021387"/>
              <a:gd name="connsiteX2" fmla="*/ 5704343 w 5704343"/>
              <a:gd name="connsiteY2" fmla="*/ 6021387 h 6021387"/>
              <a:gd name="connsiteX3" fmla="*/ 0 w 5704343"/>
              <a:gd name="connsiteY3" fmla="*/ 6021387 h 6021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04343" h="6021387">
                <a:moveTo>
                  <a:pt x="2061147" y="0"/>
                </a:moveTo>
                <a:lnTo>
                  <a:pt x="5704343" y="0"/>
                </a:lnTo>
                <a:lnTo>
                  <a:pt x="5704343" y="6021387"/>
                </a:lnTo>
                <a:lnTo>
                  <a:pt x="0" y="602138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r">
              <a:buNone/>
              <a:defRPr/>
            </a:lvl1pPr>
          </a:lstStyle>
          <a:p>
            <a:r>
              <a:rPr lang="de-DE" dirty="0"/>
              <a:t>Bild einfügen</a:t>
            </a:r>
          </a:p>
        </p:txBody>
      </p:sp>
    </p:spTree>
    <p:extLst>
      <p:ext uri="{BB962C8B-B14F-4D97-AF65-F5344CB8AC3E}">
        <p14:creationId xmlns:p14="http://schemas.microsoft.com/office/powerpoint/2010/main" val="3569189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5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E4F432-AAAF-2215-63C9-E81DECFF15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9581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E4F432-AAAF-2215-63C9-E81DECFF15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4FA33DB9-49AA-0E41-BF05-9D536FDA9D34}"/>
              </a:ext>
            </a:extLst>
          </p:cNvPr>
          <p:cNvSpPr/>
          <p:nvPr userDrawn="1"/>
        </p:nvSpPr>
        <p:spPr>
          <a:xfrm>
            <a:off x="0" y="0"/>
            <a:ext cx="12191999" cy="6021387"/>
          </a:xfrm>
          <a:prstGeom prst="rect">
            <a:avLst/>
          </a:prstGeom>
          <a:gradFill flip="none" rotWithShape="1">
            <a:gsLst>
              <a:gs pos="100000">
                <a:schemeClr val="accent1"/>
              </a:gs>
              <a:gs pos="65000">
                <a:schemeClr val="accent1"/>
              </a:gs>
              <a:gs pos="0">
                <a:schemeClr val="accent3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580FFC4-4887-5D45-885C-A06014DB3A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976101" y="1935871"/>
            <a:ext cx="6526491" cy="683077"/>
          </a:xfrm>
        </p:spPr>
        <p:txBody>
          <a:bodyPr vert="horz" lIns="0" tIns="0" rIns="0" bIns="0" anchor="t" anchorCtr="0">
            <a:noAutofit/>
          </a:bodyPr>
          <a:lstStyle>
            <a:lvl1pPr algn="l" rtl="0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Herzlich willkomm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129B891-C67D-ED41-97E5-CF810EF006A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976101" y="3010693"/>
            <a:ext cx="9144000" cy="765318"/>
          </a:xfrm>
        </p:spPr>
        <p:txBody>
          <a:bodyPr lIns="0" tIns="0" rIns="0" bIns="0">
            <a:noAutofit/>
          </a:bodyPr>
          <a:lstStyle>
            <a:lvl1pPr marL="0" indent="0" algn="l" rtl="0">
              <a:buNone/>
              <a:defRPr sz="2600" b="0" spc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hema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384A50D-1DE2-8A4C-B80A-90769016F1C5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EC11774B-DB34-775B-D73E-9E782D769E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76101" y="5056963"/>
            <a:ext cx="4951884" cy="276999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Am </a:t>
            </a:r>
            <a:r>
              <a:rPr lang="de-DE" dirty="0" err="1"/>
              <a:t>tt.mm.jjjj</a:t>
            </a:r>
            <a:r>
              <a:rPr lang="de-DE" dirty="0"/>
              <a:t> / Es grüßt Sie Vorname Nachname</a:t>
            </a:r>
          </a:p>
        </p:txBody>
      </p:sp>
    </p:spTree>
    <p:extLst>
      <p:ext uri="{BB962C8B-B14F-4D97-AF65-F5344CB8AC3E}">
        <p14:creationId xmlns:p14="http://schemas.microsoft.com/office/powerpoint/2010/main" val="2168421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5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0E101D-4B21-1146-67E5-30F3B3BCE3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2137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0E101D-4B21-1146-67E5-30F3B3BCE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35E89297-FF7B-9C4B-A26F-0FDCFAA9A0FE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5CBBD3-A39E-6C3F-4A6C-39AB7A781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8663"/>
            <a:ext cx="11233775" cy="590931"/>
          </a:xfrm>
        </p:spPr>
        <p:txBody>
          <a:bodyPr vert="horz" wrap="square" lIns="90000" tIns="45720" rIns="91440" bIns="45720" rtlCol="0" anchor="b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BD631CF4-DE77-9DDF-0015-62F6F47245F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8800" y="1610881"/>
            <a:ext cx="11233775" cy="2708434"/>
          </a:xfrm>
        </p:spPr>
        <p:txBody>
          <a:bodyPr lIns="90000"/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CA87D2-C4A4-6FFB-F67D-ED2B720353D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ED3384-15DD-DC02-6A54-BFA81C09BB5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45443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, frei gestalt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0E101D-4B21-1146-67E5-30F3B3BCE3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2137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0E101D-4B21-1146-67E5-30F3B3BCE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35E89297-FF7B-9C4B-A26F-0FDCFAA9A0FE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5CBBD3-A39E-6C3F-4A6C-39AB7A781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8663"/>
            <a:ext cx="11233775" cy="590931"/>
          </a:xfrm>
        </p:spPr>
        <p:txBody>
          <a:bodyPr vert="horz" wrap="square" lIns="90000" tIns="45720" rIns="91440" bIns="45720" rtlCol="0" anchor="b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CA87D2-C4A4-6FFB-F67D-ED2B720353D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ED3384-15DD-DC02-6A54-BFA81C09BB5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6872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0E101D-4B21-1146-67E5-30F3B3BCE3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3175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0E101D-4B21-1146-67E5-30F3B3BCE3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Bildplatzhalter 35">
            <a:extLst>
              <a:ext uri="{FF2B5EF4-FFF2-40B4-BE49-F238E27FC236}">
                <a16:creationId xmlns:a16="http://schemas.microsoft.com/office/drawing/2014/main" id="{63783933-9A14-29DB-82E7-2AB4567BB1D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816676" y="2141679"/>
            <a:ext cx="3410548" cy="2633695"/>
          </a:xfrm>
          <a:custGeom>
            <a:avLst/>
            <a:gdLst>
              <a:gd name="connsiteX0" fmla="*/ 900724 w 3410548"/>
              <a:gd name="connsiteY0" fmla="*/ 0 h 2633695"/>
              <a:gd name="connsiteX1" fmla="*/ 3410548 w 3410548"/>
              <a:gd name="connsiteY1" fmla="*/ 0 h 2633695"/>
              <a:gd name="connsiteX2" fmla="*/ 2509023 w 3410548"/>
              <a:gd name="connsiteY2" fmla="*/ 2633695 h 2633695"/>
              <a:gd name="connsiteX3" fmla="*/ 0 w 3410548"/>
              <a:gd name="connsiteY3" fmla="*/ 2633695 h 2633695"/>
              <a:gd name="connsiteX4" fmla="*/ 0 w 3410548"/>
              <a:gd name="connsiteY4" fmla="*/ 2631355 h 263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0548" h="2633695">
                <a:moveTo>
                  <a:pt x="900724" y="0"/>
                </a:moveTo>
                <a:lnTo>
                  <a:pt x="3410548" y="0"/>
                </a:lnTo>
                <a:lnTo>
                  <a:pt x="2509023" y="2633695"/>
                </a:lnTo>
                <a:lnTo>
                  <a:pt x="0" y="2633695"/>
                </a:lnTo>
                <a:lnTo>
                  <a:pt x="0" y="2631355"/>
                </a:lnTo>
                <a:close/>
              </a:path>
            </a:pathLst>
          </a:custGeom>
          <a:pattFill prst="wdUpDiag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9" name="Bildplatzhalter 38">
            <a:extLst>
              <a:ext uri="{FF2B5EF4-FFF2-40B4-BE49-F238E27FC236}">
                <a16:creationId xmlns:a16="http://schemas.microsoft.com/office/drawing/2014/main" id="{1B030BB0-430B-A964-0087-2C7390B6704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2141679"/>
            <a:ext cx="3044141" cy="2633695"/>
          </a:xfrm>
          <a:custGeom>
            <a:avLst/>
            <a:gdLst>
              <a:gd name="connsiteX0" fmla="*/ 0 w 3044141"/>
              <a:gd name="connsiteY0" fmla="*/ 0 h 2633695"/>
              <a:gd name="connsiteX1" fmla="*/ 3044141 w 3044141"/>
              <a:gd name="connsiteY1" fmla="*/ 0 h 2633695"/>
              <a:gd name="connsiteX2" fmla="*/ 3044141 w 3044141"/>
              <a:gd name="connsiteY2" fmla="*/ 48445 h 2633695"/>
              <a:gd name="connsiteX3" fmla="*/ 2159199 w 3044141"/>
              <a:gd name="connsiteY3" fmla="*/ 2633695 h 2633695"/>
              <a:gd name="connsiteX4" fmla="*/ 0 w 3044141"/>
              <a:gd name="connsiteY4" fmla="*/ 2633695 h 263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4141" h="2633695">
                <a:moveTo>
                  <a:pt x="0" y="0"/>
                </a:moveTo>
                <a:lnTo>
                  <a:pt x="3044141" y="0"/>
                </a:lnTo>
                <a:lnTo>
                  <a:pt x="3044141" y="48445"/>
                </a:lnTo>
                <a:lnTo>
                  <a:pt x="2159199" y="2633695"/>
                </a:lnTo>
                <a:lnTo>
                  <a:pt x="0" y="2633695"/>
                </a:lnTo>
                <a:close/>
              </a:path>
            </a:pathLst>
          </a:custGeom>
          <a:pattFill prst="wdUpDiag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2" name="Bildplatzhalter 31">
            <a:extLst>
              <a:ext uri="{FF2B5EF4-FFF2-40B4-BE49-F238E27FC236}">
                <a16:creationId xmlns:a16="http://schemas.microsoft.com/office/drawing/2014/main" id="{55A756DF-228A-6953-E273-E7F87648041F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182841" y="2141679"/>
            <a:ext cx="3010292" cy="2633695"/>
          </a:xfrm>
          <a:custGeom>
            <a:avLst/>
            <a:gdLst>
              <a:gd name="connsiteX0" fmla="*/ 901881 w 3010292"/>
              <a:gd name="connsiteY0" fmla="*/ 0 h 2633695"/>
              <a:gd name="connsiteX1" fmla="*/ 3010292 w 3010292"/>
              <a:gd name="connsiteY1" fmla="*/ 0 h 2633695"/>
              <a:gd name="connsiteX2" fmla="*/ 3010292 w 3010292"/>
              <a:gd name="connsiteY2" fmla="*/ 2633695 h 2633695"/>
              <a:gd name="connsiteX3" fmla="*/ 0 w 3010292"/>
              <a:gd name="connsiteY3" fmla="*/ 2633695 h 263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10292" h="2633695">
                <a:moveTo>
                  <a:pt x="901881" y="0"/>
                </a:moveTo>
                <a:lnTo>
                  <a:pt x="3010292" y="0"/>
                </a:lnTo>
                <a:lnTo>
                  <a:pt x="3010292" y="2633695"/>
                </a:lnTo>
                <a:lnTo>
                  <a:pt x="0" y="2633695"/>
                </a:lnTo>
                <a:close/>
              </a:path>
            </a:pathLst>
          </a:custGeom>
          <a:pattFill prst="wdUpDiag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BD631CF4-DE77-9DDF-0015-62F6F47245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0" y="1742674"/>
            <a:ext cx="3044141" cy="276999"/>
          </a:xfrm>
        </p:spPr>
        <p:txBody>
          <a:bodyPr lIns="0" tIns="0" rIns="0" bIns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BB37DC57-22F5-A781-6D48-1706B73598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16481" y="1742674"/>
            <a:ext cx="2510743" cy="276999"/>
          </a:xfrm>
        </p:spPr>
        <p:txBody>
          <a:bodyPr lIns="0" tIns="0" rIns="0" bIns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246BDFFF-2ABC-1408-130E-C617FAE130C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99564" y="1742674"/>
            <a:ext cx="2510743" cy="276999"/>
          </a:xfrm>
        </p:spPr>
        <p:txBody>
          <a:bodyPr lIns="0" tIns="0" rIns="0" bIns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229BB953-2C0D-8B94-CB2A-21C59C29454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067636" y="1742674"/>
            <a:ext cx="2124364" cy="276999"/>
          </a:xfrm>
        </p:spPr>
        <p:txBody>
          <a:bodyPr lIns="0" tIns="0" rIns="0" bIns="0"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5E89297-FF7B-9C4B-A26F-0FDCFAA9A0FE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5CBBD3-A39E-6C3F-4A6C-39AB7A781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8663"/>
            <a:ext cx="11233775" cy="590931"/>
          </a:xfrm>
        </p:spPr>
        <p:txBody>
          <a:bodyPr vert="horz" wrap="square" lIns="90000" tIns="45720" rIns="91440" bIns="45720" rtlCol="0" anchor="b" anchorCtr="0">
            <a:sp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Mastertitelformat bearbeiten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610A1BF-2051-4516-F02A-3F857B25B70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" y="4897380"/>
            <a:ext cx="2152072" cy="276999"/>
          </a:xfr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F456FE46-9FAA-B5E5-9108-0CA81658C0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6677" y="4897380"/>
            <a:ext cx="2512706" cy="276999"/>
          </a:xfr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20ACBD05-E6F9-5C06-F999-AE93ACE8F9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999759" y="4897380"/>
            <a:ext cx="2512706" cy="276999"/>
          </a:xfr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14601DFB-EE77-7261-E096-7399E5FA664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82841" y="4897380"/>
            <a:ext cx="3009157" cy="276999"/>
          </a:xfrm>
        </p:spPr>
        <p:txBody>
          <a:bodyPr lIns="0" tIns="0" rIns="0" bIns="0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/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37" name="Bildplatzhalter 36">
            <a:extLst>
              <a:ext uri="{FF2B5EF4-FFF2-40B4-BE49-F238E27FC236}">
                <a16:creationId xmlns:a16="http://schemas.microsoft.com/office/drawing/2014/main" id="{70E11EE3-7EF8-AAEC-32F1-7C3100A75B1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5999759" y="2141679"/>
            <a:ext cx="3410548" cy="2633695"/>
          </a:xfrm>
          <a:custGeom>
            <a:avLst/>
            <a:gdLst>
              <a:gd name="connsiteX0" fmla="*/ 900724 w 3410548"/>
              <a:gd name="connsiteY0" fmla="*/ 0 h 2633695"/>
              <a:gd name="connsiteX1" fmla="*/ 3410548 w 3410548"/>
              <a:gd name="connsiteY1" fmla="*/ 0 h 2633695"/>
              <a:gd name="connsiteX2" fmla="*/ 2509023 w 3410548"/>
              <a:gd name="connsiteY2" fmla="*/ 2633695 h 2633695"/>
              <a:gd name="connsiteX3" fmla="*/ 0 w 3410548"/>
              <a:gd name="connsiteY3" fmla="*/ 2633695 h 2633695"/>
              <a:gd name="connsiteX4" fmla="*/ 0 w 3410548"/>
              <a:gd name="connsiteY4" fmla="*/ 2631355 h 2633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0548" h="2633695">
                <a:moveTo>
                  <a:pt x="900724" y="0"/>
                </a:moveTo>
                <a:lnTo>
                  <a:pt x="3410548" y="0"/>
                </a:lnTo>
                <a:lnTo>
                  <a:pt x="2509023" y="2633695"/>
                </a:lnTo>
                <a:lnTo>
                  <a:pt x="0" y="2633695"/>
                </a:lnTo>
                <a:lnTo>
                  <a:pt x="0" y="2631355"/>
                </a:lnTo>
                <a:close/>
              </a:path>
            </a:pathLst>
          </a:custGeom>
          <a:pattFill prst="wdUpDiag">
            <a:fgClr>
              <a:schemeClr val="bg2">
                <a:lumMod val="90000"/>
              </a:schemeClr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6530EE2-8C75-70DF-EF9C-C2131630DBB9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29F15B3-F99A-5480-8359-23B2560EEC38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10998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Icon, Rand breit,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6BF47A-852D-B5F3-489E-CDF3C35D38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9602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401" progId="TCLayout.ActiveDocument.1">
                  <p:embed/>
                </p:oleObj>
              </mc:Choice>
              <mc:Fallback>
                <p:oleObj name="think-cell Folie" r:id="rId3" imgW="400" imgH="40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6BF47A-852D-B5F3-489E-CDF3C35D38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ihandform 16">
            <a:extLst>
              <a:ext uri="{FF2B5EF4-FFF2-40B4-BE49-F238E27FC236}">
                <a16:creationId xmlns:a16="http://schemas.microsoft.com/office/drawing/2014/main" id="{F28D61CA-C612-8DDD-1B45-E970BE38FAA4}"/>
              </a:ext>
            </a:extLst>
          </p:cNvPr>
          <p:cNvSpPr/>
          <p:nvPr userDrawn="1"/>
        </p:nvSpPr>
        <p:spPr>
          <a:xfrm>
            <a:off x="7920626" y="0"/>
            <a:ext cx="4283374" cy="6027962"/>
          </a:xfrm>
          <a:custGeom>
            <a:avLst/>
            <a:gdLst>
              <a:gd name="connsiteX0" fmla="*/ 2061148 w 4283374"/>
              <a:gd name="connsiteY0" fmla="*/ 0 h 6021388"/>
              <a:gd name="connsiteX1" fmla="*/ 4283374 w 4283374"/>
              <a:gd name="connsiteY1" fmla="*/ 0 h 6021388"/>
              <a:gd name="connsiteX2" fmla="*/ 4283374 w 4283374"/>
              <a:gd name="connsiteY2" fmla="*/ 6021388 h 6021388"/>
              <a:gd name="connsiteX3" fmla="*/ 0 w 4283374"/>
              <a:gd name="connsiteY3" fmla="*/ 6021388 h 6021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3374" h="6021388">
                <a:moveTo>
                  <a:pt x="2061148" y="0"/>
                </a:moveTo>
                <a:lnTo>
                  <a:pt x="4283374" y="0"/>
                </a:lnTo>
                <a:lnTo>
                  <a:pt x="4283374" y="6021388"/>
                </a:lnTo>
                <a:lnTo>
                  <a:pt x="0" y="6021388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80000">
                <a:schemeClr val="accent1"/>
              </a:gs>
              <a:gs pos="0">
                <a:schemeClr val="accent3"/>
              </a:gs>
            </a:gsLst>
            <a:lin ang="42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de-DE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B8034BE2-8CE6-3D41-8EAE-43476D4FA00C}"/>
              </a:ext>
            </a:extLst>
          </p:cNvPr>
          <p:cNvSpPr txBox="1">
            <a:spLocks/>
          </p:cNvSpPr>
          <p:nvPr userDrawn="1"/>
        </p:nvSpPr>
        <p:spPr>
          <a:xfrm>
            <a:off x="570630" y="756854"/>
            <a:ext cx="10924565" cy="54927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kern="120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1pPr>
          </a:lstStyle>
          <a:p>
            <a:pPr rtl="0"/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107244D-1EAC-AA46-B92E-31D5E9A91F80}"/>
              </a:ext>
            </a:extLst>
          </p:cNvPr>
          <p:cNvSpPr/>
          <p:nvPr userDrawn="1"/>
        </p:nvSpPr>
        <p:spPr>
          <a:xfrm>
            <a:off x="0" y="6027962"/>
            <a:ext cx="1220400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3758D43-D92B-96C2-BE7B-3E7C34A9C3F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800" y="1612800"/>
            <a:ext cx="7086315" cy="2708434"/>
          </a:xfrm>
        </p:spPr>
        <p:txBody>
          <a:bodyPr lIns="9000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pic>
        <p:nvPicPr>
          <p:cNvPr id="18" name="Grafik 17" descr="Die Icon zeigt eine rote achteckige Fläche mit einer weißen Checkliste.">
            <a:extLst>
              <a:ext uri="{FF2B5EF4-FFF2-40B4-BE49-F238E27FC236}">
                <a16:creationId xmlns:a16="http://schemas.microsoft.com/office/drawing/2014/main" id="{9F4CAE38-CE7B-F69C-5BA6-B3D11EBD09F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122518" y="2282603"/>
            <a:ext cx="1631188" cy="1456182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B8C1D828-B40B-A54E-8CBE-FA80765619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5CEB214-918B-1CDF-D5C3-DC43B1708DA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6A597F2-6EC8-6DB2-188C-5BFF8AC3517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39556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E1DA99D-25F7-CE73-0CFA-B936FF03B5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945392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400" imgH="401" progId="TCLayout.ActiveDocument.1">
                  <p:embed/>
                </p:oleObj>
              </mc:Choice>
              <mc:Fallback>
                <p:oleObj name="think-cell Folie" r:id="rId26" imgW="400" imgH="4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E1DA99D-25F7-CE73-0CFA-B936FF03B5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descr="Dieses Bildelement fungiert als Platzhalter für ein zweites Logo.">
            <a:extLst>
              <a:ext uri="{FF2B5EF4-FFF2-40B4-BE49-F238E27FC236}">
                <a16:creationId xmlns:a16="http://schemas.microsoft.com/office/drawing/2014/main" id="{03CA4DFF-172F-EA5D-45EB-3BCA7745D1F0}"/>
              </a:ext>
            </a:extLst>
          </p:cNvPr>
          <p:cNvSpPr/>
          <p:nvPr userDrawn="1"/>
        </p:nvSpPr>
        <p:spPr>
          <a:xfrm>
            <a:off x="1854994" y="6292344"/>
            <a:ext cx="929481" cy="383411"/>
          </a:xfrm>
          <a:prstGeom prst="rect">
            <a:avLst/>
          </a:prstGeom>
          <a:pattFill prst="wdUp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Platzhalter für 2. Logo</a:t>
            </a: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0BEA91A-F7E1-C74C-93B9-656742890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8663"/>
            <a:ext cx="11233775" cy="54927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de-DE" dirty="0"/>
              <a:t>Mastertitelformat bearbeiten      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C3E136-5B2F-4D4A-8AF8-958B67C46F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8799" y="1610881"/>
            <a:ext cx="11233775" cy="264328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1AA040F-9373-1941-8EB9-8BA9330FC1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69375" y="6426596"/>
            <a:ext cx="2743200" cy="184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Seite </a:t>
            </a:r>
            <a:fld id="{B1407B4D-77BB-464B-A6DE-D36968EB90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B8FE1AB-8A66-6E2B-4FE3-B7E7A287AF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199914" y="6608514"/>
            <a:ext cx="512661" cy="184666"/>
          </a:xfrm>
          <a:prstGeom prst="rect">
            <a:avLst/>
          </a:prstGeom>
        </p:spPr>
        <p:txBody>
          <a:bodyPr vert="horz" wrap="none" lIns="0" tIns="0" rIns="90000" bIns="0" rtlCol="0" anchor="ctr">
            <a:spAutoFit/>
          </a:bodyPr>
          <a:lstStyle>
            <a:lvl1pPr>
              <a:defRPr lang="de-DE"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/>
            <a:r>
              <a:rPr lang="en-GB"/>
              <a:t>von 10</a:t>
            </a:r>
            <a:endParaRPr lang="de-DE" dirty="0"/>
          </a:p>
        </p:txBody>
      </p:sp>
      <p:pic>
        <p:nvPicPr>
          <p:cNvPr id="7" name="Grafik 6" descr="Grafik: Logo der BIH">
            <a:extLst>
              <a:ext uri="{FF2B5EF4-FFF2-40B4-BE49-F238E27FC236}">
                <a16:creationId xmlns:a16="http://schemas.microsoft.com/office/drawing/2014/main" id="{C7D02FCC-26C3-CE9D-0A1E-DD36D8723A89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rcRect/>
          <a:stretch/>
        </p:blipFill>
        <p:spPr>
          <a:xfrm>
            <a:off x="308933" y="6284450"/>
            <a:ext cx="1207447" cy="364150"/>
          </a:xfrm>
          <a:prstGeom prst="rect">
            <a:avLst/>
          </a:prstGeom>
        </p:spPr>
      </p:pic>
      <p:cxnSp>
        <p:nvCxnSpPr>
          <p:cNvPr id="8" name="Gerade Verbindung 6">
            <a:extLst>
              <a:ext uri="{FF2B5EF4-FFF2-40B4-BE49-F238E27FC236}">
                <a16:creationId xmlns:a16="http://schemas.microsoft.com/office/drawing/2014/main" id="{4A69D0EF-1831-8C28-9EF3-7E338735AADA}"/>
              </a:ext>
            </a:extLst>
          </p:cNvPr>
          <p:cNvCxnSpPr>
            <a:cxnSpLocks/>
          </p:cNvCxnSpPr>
          <p:nvPr userDrawn="1"/>
        </p:nvCxnSpPr>
        <p:spPr>
          <a:xfrm>
            <a:off x="1647266" y="6289964"/>
            <a:ext cx="0" cy="382868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3901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13" r:id="rId2"/>
    <p:sldLayoutId id="2147483724" r:id="rId3"/>
    <p:sldLayoutId id="2147483720" r:id="rId4"/>
    <p:sldLayoutId id="2147483677" r:id="rId5"/>
    <p:sldLayoutId id="2147483705" r:id="rId6"/>
    <p:sldLayoutId id="2147483726" r:id="rId7"/>
    <p:sldLayoutId id="2147483722" r:id="rId8"/>
    <p:sldLayoutId id="2147483650" r:id="rId9"/>
    <p:sldLayoutId id="2147483710" r:id="rId10"/>
    <p:sldLayoutId id="2147483683" r:id="rId11"/>
    <p:sldLayoutId id="2147483680" r:id="rId12"/>
    <p:sldLayoutId id="2147483685" r:id="rId13"/>
    <p:sldLayoutId id="2147483686" r:id="rId14"/>
    <p:sldLayoutId id="2147483719" r:id="rId15"/>
    <p:sldLayoutId id="2147483716" r:id="rId16"/>
    <p:sldLayoutId id="2147483721" r:id="rId17"/>
    <p:sldLayoutId id="2147483700" r:id="rId18"/>
    <p:sldLayoutId id="2147483670" r:id="rId19"/>
    <p:sldLayoutId id="2147483699" r:id="rId20"/>
    <p:sldLayoutId id="2147483725" r:id="rId21"/>
    <p:sldLayoutId id="2147483717" r:id="rId22"/>
    <p:sldLayoutId id="2147483718" r:id="rId2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360363" indent="-360363" algn="l" defTabSz="914400" rtl="0" eaLnBrk="1" latinLnBrk="0" hangingPunct="1">
        <a:lnSpc>
          <a:spcPts val="2800"/>
        </a:lnSpc>
        <a:spcBef>
          <a:spcPts val="80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2200" kern="1200">
          <a:ln>
            <a:noFill/>
          </a:ln>
          <a:solidFill>
            <a:schemeClr val="tx1"/>
          </a:solidFill>
          <a:latin typeface="+mn-lt"/>
          <a:ea typeface="+mn-ea"/>
          <a:cs typeface="+mn-cs"/>
        </a:defRPr>
      </a:lvl1pPr>
      <a:lvl2pPr marL="0" indent="-180000" algn="l" defTabSz="914400" rtl="0" eaLnBrk="1" latinLnBrk="0" hangingPunct="1">
        <a:lnSpc>
          <a:spcPts val="2800"/>
        </a:lnSpc>
        <a:spcBef>
          <a:spcPts val="80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0725" indent="-360363" algn="l" defTabSz="914400" rtl="0" eaLnBrk="1" latinLnBrk="0" hangingPunct="1">
        <a:lnSpc>
          <a:spcPts val="2800"/>
        </a:lnSpc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Char char="-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360363" algn="l" defTabSz="914400" rtl="0" eaLnBrk="1" latinLnBrk="0" hangingPunct="1">
        <a:lnSpc>
          <a:spcPts val="2800"/>
        </a:lnSpc>
        <a:spcBef>
          <a:spcPts val="80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925" indent="-350838" algn="l" defTabSz="914400" rtl="0" eaLnBrk="1" latinLnBrk="0" hangingPunct="1">
        <a:lnSpc>
          <a:spcPts val="2800"/>
        </a:lnSpc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Char char="-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1792288" indent="-36195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pos="7378" userDrawn="1">
          <p15:clr>
            <a:srgbClr val="F26B43"/>
          </p15:clr>
        </p15:guide>
        <p15:guide id="7" orient="horz" pos="3793" userDrawn="1">
          <p15:clr>
            <a:srgbClr val="F26B43"/>
          </p15:clr>
        </p15:guide>
        <p15:guide id="14" orient="horz" pos="1094" userDrawn="1">
          <p15:clr>
            <a:srgbClr val="F26B43"/>
          </p15:clr>
        </p15:guide>
        <p15:guide id="18" pos="3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mailto:sbv@musterbetrieb.de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848BBD-330F-8948-9172-8C8E067CDE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9061" y="1935871"/>
            <a:ext cx="5511635" cy="683077"/>
          </a:xfrm>
        </p:spPr>
        <p:txBody>
          <a:bodyPr/>
          <a:lstStyle/>
          <a:p>
            <a:r>
              <a:rPr lang="de-DE" dirty="0"/>
              <a:t>Ihre SBV stellt sich vor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35DF972-2499-814B-860E-E5B93C3FB42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Herzlich willkommen!</a:t>
            </a:r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10C53E94-1A04-F7A3-E5AF-C589D82E4F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 err="1"/>
              <a:t>tt.mm.jjjj</a:t>
            </a:r>
            <a:endParaRPr lang="de-DE" dirty="0"/>
          </a:p>
          <a:p>
            <a:r>
              <a:rPr lang="de-DE" dirty="0"/>
              <a:t>Es grüßt Sie Vorname Nachname</a:t>
            </a:r>
          </a:p>
        </p:txBody>
      </p:sp>
      <p:sp>
        <p:nvSpPr>
          <p:cNvPr id="6" name="Bildplatzhalter 5" descr="Platzhalter zum Einfügen eines Fotos. ">
            <a:extLst>
              <a:ext uri="{FF2B5EF4-FFF2-40B4-BE49-F238E27FC236}">
                <a16:creationId xmlns:a16="http://schemas.microsoft.com/office/drawing/2014/main" id="{084C252E-ECBE-6F5D-2BBE-475666FEC80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</p:spTree>
    <p:extLst>
      <p:ext uri="{BB962C8B-B14F-4D97-AF65-F5344CB8AC3E}">
        <p14:creationId xmlns:p14="http://schemas.microsoft.com/office/powerpoint/2010/main" val="22632442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12C969-FE92-68A8-4E45-AD7CA22BA15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76101" y="1935871"/>
            <a:ext cx="6710699" cy="1661993"/>
          </a:xfrm>
        </p:spPr>
        <p:txBody>
          <a:bodyPr/>
          <a:lstStyle/>
          <a:p>
            <a:r>
              <a:rPr lang="de-DE" dirty="0"/>
              <a:t>Wir bedanken uns für Ihre Aufmerksamkei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7C4B694-C406-0BC6-9096-B8A0451A4B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6709B5-C4FD-60C4-D8D8-422A30BC3F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52592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D51EA958-D1BF-D289-5E93-12352C9DE5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itat</a:t>
            </a:r>
            <a:endParaRPr lang="en-GB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66FFDCE-B046-3655-DAA8-48B21123EED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„Wenn es um Rehabilitation geht, sind SBV als Lotsen im Betrieb die idealen Peers. Sie wissen, was nötig ist, was gebraucht wird und sie können wichtige Hilfestellung leisten.“</a:t>
            </a:r>
          </a:p>
          <a:p>
            <a:r>
              <a:rPr lang="de-DE" sz="1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r. Rolf Schmachtenberg – Staatssekretär im BMAS,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518854A-DD5B-DEA8-938D-5C4C6C23666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CF0123B-D9B7-EB86-6735-20BD971761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de-DE"/>
              <a:t>von 1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71335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EAD30F-5D4B-E4EB-0E2D-F43C86686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rum geht‘s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232BCAF-1156-F0AF-A484-71C5710159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493200" indent="-457200">
              <a:lnSpc>
                <a:spcPct val="150000"/>
              </a:lnSpc>
              <a:buFont typeface="+mj-lt"/>
              <a:buAutoNum type="arabicPeriod"/>
            </a:pPr>
            <a:r>
              <a:rPr lang="de-DE" dirty="0"/>
              <a:t>Was macht die SBV?</a:t>
            </a:r>
          </a:p>
          <a:p>
            <a:pPr marL="493200" indent="-457200">
              <a:lnSpc>
                <a:spcPct val="150000"/>
              </a:lnSpc>
              <a:buFont typeface="+mj-lt"/>
              <a:buAutoNum type="arabicPeriod"/>
            </a:pPr>
            <a:r>
              <a:rPr lang="de-DE" dirty="0"/>
              <a:t>Für wen wird die SBV tätig?</a:t>
            </a:r>
          </a:p>
          <a:p>
            <a:pPr marL="493200" indent="-457200">
              <a:lnSpc>
                <a:spcPct val="150000"/>
              </a:lnSpc>
              <a:buFont typeface="+mj-lt"/>
              <a:buAutoNum type="arabicPeriod"/>
            </a:pPr>
            <a:r>
              <a:rPr lang="de-DE" dirty="0"/>
              <a:t>Mit wem arbeitet die SBV zusammen?</a:t>
            </a:r>
          </a:p>
          <a:p>
            <a:pPr marL="493200" indent="-457200">
              <a:lnSpc>
                <a:spcPct val="150000"/>
              </a:lnSpc>
              <a:buFont typeface="+mj-lt"/>
              <a:buAutoNum type="arabicPeriod"/>
            </a:pPr>
            <a:r>
              <a:rPr lang="de-DE" dirty="0"/>
              <a:t>Geheimhaltungspflicht der SBV</a:t>
            </a:r>
          </a:p>
          <a:p>
            <a:pPr marL="493200" indent="-457200">
              <a:lnSpc>
                <a:spcPct val="150000"/>
              </a:lnSpc>
              <a:buFont typeface="+mj-lt"/>
              <a:buAutoNum type="arabicPeriod"/>
            </a:pPr>
            <a:r>
              <a:rPr lang="de-DE" dirty="0"/>
              <a:t>Gut zu wiss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A1707D5-7E24-E8A3-AEEC-FDCF43EFDB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9F3E499-66DB-01EC-E282-5916E171393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51913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FF0D48ED-AB64-93B6-FCB5-0587120BD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7200"/>
            <a:ext cx="8692396" cy="590931"/>
          </a:xfrm>
        </p:spPr>
        <p:txBody>
          <a:bodyPr vert="horz"/>
          <a:lstStyle/>
          <a:p>
            <a:r>
              <a:rPr lang="de-DE" dirty="0"/>
              <a:t>1. Was macht die SBV?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E07687F-D024-5ECD-C21A-013C676C20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800" y="1612800"/>
            <a:ext cx="7086315" cy="3821687"/>
          </a:xfrm>
        </p:spPr>
        <p:txBody>
          <a:bodyPr/>
          <a:lstStyle/>
          <a:p>
            <a:r>
              <a:rPr lang="de-DE" dirty="0"/>
              <a:t>Eingliederung </a:t>
            </a:r>
            <a:r>
              <a:rPr lang="de-DE" b="1" dirty="0"/>
              <a:t>fördern </a:t>
            </a:r>
            <a:r>
              <a:rPr lang="de-DE" dirty="0"/>
              <a:t>und</a:t>
            </a:r>
            <a:r>
              <a:rPr lang="de-DE" b="1" dirty="0"/>
              <a:t> </a:t>
            </a:r>
            <a:r>
              <a:rPr lang="de-DE" dirty="0"/>
              <a:t>Maßnahmen</a:t>
            </a:r>
            <a:r>
              <a:rPr lang="de-DE" b="1" dirty="0"/>
              <a:t> beantragen</a:t>
            </a:r>
          </a:p>
          <a:p>
            <a:r>
              <a:rPr lang="de-DE" b="1" dirty="0"/>
              <a:t>Berechtigte Interessen </a:t>
            </a:r>
            <a:r>
              <a:rPr lang="de-DE" dirty="0"/>
              <a:t>vertreten</a:t>
            </a:r>
          </a:p>
          <a:p>
            <a:r>
              <a:rPr lang="de-DE" dirty="0"/>
              <a:t>Menschen mit Schwerbehinderung beraten</a:t>
            </a:r>
          </a:p>
          <a:p>
            <a:r>
              <a:rPr lang="de-DE" b="1" dirty="0"/>
              <a:t>Unterstützung</a:t>
            </a:r>
            <a:r>
              <a:rPr lang="de-DE" dirty="0"/>
              <a:t> bei Antragstellung</a:t>
            </a:r>
          </a:p>
          <a:p>
            <a:r>
              <a:rPr lang="de-DE" dirty="0"/>
              <a:t>Anregungen und Beschwerden entgegennehmen</a:t>
            </a:r>
          </a:p>
          <a:p>
            <a:r>
              <a:rPr lang="de-DE" b="1" dirty="0"/>
              <a:t>Überwachung</a:t>
            </a:r>
            <a:r>
              <a:rPr lang="de-DE" dirty="0"/>
              <a:t> gesetzlicher Regelungen </a:t>
            </a:r>
          </a:p>
          <a:p>
            <a:r>
              <a:rPr lang="de-DE" dirty="0"/>
              <a:t>Initiativen für mehr Prävention einbringen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E768F57B-9F06-3DB2-7B7F-25A2C2656C5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B5C9D291-9E8C-EE7B-4282-F70C98167FD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32656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B7F4C8-F6D7-AE6A-B78A-806370B90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2. Für wen wird die SBV tätig?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6DB17F9-D28C-B2E0-54D0-BDE4A455179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800" y="1612800"/>
            <a:ext cx="6049506" cy="4334648"/>
          </a:xfrm>
        </p:spPr>
        <p:txBody>
          <a:bodyPr/>
          <a:lstStyle/>
          <a:p>
            <a:pPr marL="251460" indent="-215900"/>
            <a:r>
              <a:rPr lang="de-DE" dirty="0"/>
              <a:t>Die SBV vertritt die Interessen der </a:t>
            </a:r>
            <a:r>
              <a:rPr lang="de-DE" b="1" dirty="0"/>
              <a:t>Menschen mit Schwerbehinderung</a:t>
            </a:r>
            <a:r>
              <a:rPr lang="de-DE" dirty="0"/>
              <a:t> im Betrieb.</a:t>
            </a:r>
          </a:p>
          <a:p>
            <a:pPr marL="251460" indent="-215900"/>
            <a:r>
              <a:rPr lang="de-DE" dirty="0"/>
              <a:t>Sie unterstützt zudem </a:t>
            </a:r>
            <a:r>
              <a:rPr lang="de-DE" b="1" dirty="0"/>
              <a:t>alle Beschäftigten</a:t>
            </a:r>
            <a:r>
              <a:rPr lang="de-DE" dirty="0"/>
              <a:t> bei Anträgen rund um das Thema Behinderung, etwa</a:t>
            </a:r>
          </a:p>
          <a:p>
            <a:pPr marL="738822" lvl="2" indent="-342900">
              <a:buSzPct val="74000"/>
              <a:buFont typeface="Courier New" panose="02070309020205020404" pitchFamily="49" charset="0"/>
              <a:buChar char="o"/>
            </a:pPr>
            <a:r>
              <a:rPr lang="de-DE" dirty="0"/>
              <a:t>Antrag auf Feststellung einer Behinderung</a:t>
            </a:r>
          </a:p>
          <a:p>
            <a:pPr marL="738822" lvl="2" indent="-342900">
              <a:buSzPct val="74000"/>
              <a:buFont typeface="Courier New" panose="02070309020205020404" pitchFamily="49" charset="0"/>
              <a:buChar char="o"/>
            </a:pPr>
            <a:r>
              <a:rPr lang="de-DE" dirty="0"/>
              <a:t>Antrag auf Feststellung des Grades einer Behinderung</a:t>
            </a:r>
          </a:p>
          <a:p>
            <a:pPr marL="738822" lvl="2" indent="-342900">
              <a:buSzPct val="74000"/>
              <a:buFont typeface="Courier New" panose="02070309020205020404" pitchFamily="49" charset="0"/>
              <a:buChar char="o"/>
            </a:pPr>
            <a:r>
              <a:rPr lang="de-DE" dirty="0"/>
              <a:t>Antrag auf Gleichstellung </a:t>
            </a:r>
            <a:endParaRPr lang="de-DE" dirty="0">
              <a:cs typeface="Arial"/>
            </a:endParaRPr>
          </a:p>
          <a:p>
            <a:pPr marL="251460" indent="-215900"/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9A1A6B6-D8DF-A18C-B4A3-ED55896189F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8969375" y="6426596"/>
            <a:ext cx="2743200" cy="184150"/>
          </a:xfrm>
        </p:spPr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0530B20-D15C-60B9-7B95-6C26679D711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1155029" y="6608514"/>
            <a:ext cx="557546" cy="184666"/>
          </a:xfrm>
        </p:spPr>
        <p:txBody>
          <a:bodyPr/>
          <a:lstStyle/>
          <a:p>
            <a:pPr algn="r"/>
            <a:r>
              <a:rPr lang="de-DE"/>
              <a:t>von 1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14670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F94283-FD3D-A880-39BA-3BA17D79B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7200"/>
            <a:ext cx="8692396" cy="590931"/>
          </a:xfrm>
        </p:spPr>
        <p:txBody>
          <a:bodyPr vert="horz"/>
          <a:lstStyle/>
          <a:p>
            <a:r>
              <a:rPr lang="de-DE" dirty="0"/>
              <a:t>3. Mit wem arbeitet die SBV zusammen?</a:t>
            </a:r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FD9EB597-5729-3427-3326-86BC4F3EAF9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Arbeitgeber/ Inklusionsbeauftragte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E189648F-A26C-35BA-3133-0D36F7FE131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 dirty="0"/>
              <a:t>Betriebs- oder Personalrat</a:t>
            </a:r>
          </a:p>
        </p:txBody>
      </p: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F3C6EED5-E7A1-8DDF-19B6-6DAC5102607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de-DE" dirty="0"/>
              <a:t>Betriebsarzt</a:t>
            </a:r>
            <a:endParaRPr lang="de-DE" b="1" dirty="0"/>
          </a:p>
        </p:txBody>
      </p:sp>
      <p:sp>
        <p:nvSpPr>
          <p:cNvPr id="42" name="Textplatzhalter 41">
            <a:extLst>
              <a:ext uri="{FF2B5EF4-FFF2-40B4-BE49-F238E27FC236}">
                <a16:creationId xmlns:a16="http://schemas.microsoft.com/office/drawing/2014/main" id="{09868026-275A-6618-7D1F-1661E8ABECE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Integrations- oder Inklusionsamt</a:t>
            </a:r>
          </a:p>
        </p:txBody>
      </p:sp>
      <p:sp>
        <p:nvSpPr>
          <p:cNvPr id="45" name="Textplatzhalter 44">
            <a:extLst>
              <a:ext uri="{FF2B5EF4-FFF2-40B4-BE49-F238E27FC236}">
                <a16:creationId xmlns:a16="http://schemas.microsoft.com/office/drawing/2014/main" id="{0FCA6513-F4CA-44DB-B92E-A2F1AB4D587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/>
              <a:t>Agentur für Arbeit</a:t>
            </a:r>
            <a:endParaRPr lang="de-DE" b="1" dirty="0"/>
          </a:p>
        </p:txBody>
      </p: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8F0B3EB4-FAB6-2358-7143-04001FF04F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de-DE" dirty="0"/>
              <a:t>Rehabilitationsträg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19495B-7547-84A5-4D83-BF5D0F26B92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8969375" y="6426596"/>
            <a:ext cx="2743200" cy="184150"/>
          </a:xfrm>
        </p:spPr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B9A6657-BD37-3A2D-2EE3-F00DD9BAD55D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11155029" y="6608514"/>
            <a:ext cx="557546" cy="184666"/>
          </a:xfrm>
        </p:spPr>
        <p:txBody>
          <a:bodyPr/>
          <a:lstStyle/>
          <a:p>
            <a:pPr algn="r"/>
            <a:r>
              <a:rPr lang="de-DE"/>
              <a:t>von 1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70667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23">
            <a:extLst>
              <a:ext uri="{FF2B5EF4-FFF2-40B4-BE49-F238E27FC236}">
                <a16:creationId xmlns:a16="http://schemas.microsoft.com/office/drawing/2014/main" id="{92D9EF57-3978-24F0-D35C-4AFD161B57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4. Geheimhaltungspflicht der SBV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7968B08D-C374-A0BB-189A-40F35876550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31161" y="1612800"/>
            <a:ext cx="8281414" cy="3206134"/>
          </a:xfrm>
        </p:spPr>
        <p:txBody>
          <a:bodyPr/>
          <a:lstStyle/>
          <a:p>
            <a:r>
              <a:rPr lang="de-DE" dirty="0"/>
              <a:t>Die SBV bewahrt Verschwiegenheit bezüglich Informationen, die sie von Beschäftigten mit Schwerbehinderung erhält.</a:t>
            </a:r>
          </a:p>
          <a:p>
            <a:r>
              <a:rPr lang="de-DE" dirty="0"/>
              <a:t>Betriebliche Informationen werden nicht nach außen gegeben.</a:t>
            </a:r>
          </a:p>
          <a:p>
            <a:r>
              <a:rPr lang="de-DE" b="1" dirty="0"/>
              <a:t>Ausnahme:</a:t>
            </a:r>
            <a:r>
              <a:rPr lang="de-DE" dirty="0"/>
              <a:t> Sofern die Weitergabe im Rahmen von Anträgen erforderlich ist, muss zuvor eine schriftliche Entbindung von der Schweigepflicht eingeholt werden.</a:t>
            </a:r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22F7ADD-F6F7-A988-8435-CB6FC935229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8969375" y="6426596"/>
            <a:ext cx="2743200" cy="184150"/>
          </a:xfrm>
        </p:spPr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F375246-0871-2AD3-EDBF-C93C5F11FB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1155029" y="6608514"/>
            <a:ext cx="557546" cy="184666"/>
          </a:xfrm>
        </p:spPr>
        <p:txBody>
          <a:bodyPr/>
          <a:lstStyle/>
          <a:p>
            <a:pPr algn="r"/>
            <a:r>
              <a:rPr lang="de-DE"/>
              <a:t>von 1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0616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FF0D48ED-AB64-93B6-FCB5-0587120BD7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800" y="727200"/>
            <a:ext cx="8692396" cy="590931"/>
          </a:xfrm>
        </p:spPr>
        <p:txBody>
          <a:bodyPr vert="horz"/>
          <a:lstStyle/>
          <a:p>
            <a:r>
              <a:rPr lang="de-DE" dirty="0"/>
              <a:t>5. Gut zu wissen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E07687F-D024-5ECD-C21A-013C676C20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8800" y="1612800"/>
            <a:ext cx="8692396" cy="3411318"/>
          </a:xfrm>
        </p:spPr>
        <p:txBody>
          <a:bodyPr/>
          <a:lstStyle/>
          <a:p>
            <a:r>
              <a:rPr lang="de-DE" dirty="0"/>
              <a:t>Die SBV übt ihr Amt unentgeltlich als Ehrenamt aus. </a:t>
            </a:r>
          </a:p>
          <a:p>
            <a:r>
              <a:rPr lang="de-DE" dirty="0"/>
              <a:t>Die SBV ist eine eigenständige und unabhängige </a:t>
            </a:r>
            <a:br>
              <a:rPr lang="de-DE" dirty="0"/>
            </a:br>
            <a:r>
              <a:rPr lang="de-DE" dirty="0"/>
              <a:t>Interessenvertretung.</a:t>
            </a:r>
          </a:p>
          <a:p>
            <a:r>
              <a:rPr lang="de-DE" dirty="0"/>
              <a:t>Die SBV wird in der Regel alle vier Jahre im Zeitraum vom </a:t>
            </a:r>
            <a:br>
              <a:rPr lang="de-DE" dirty="0"/>
            </a:br>
            <a:r>
              <a:rPr lang="de-DE" dirty="0"/>
              <a:t>1. Oktober bis 30. November neu gewählt.</a:t>
            </a:r>
          </a:p>
          <a:p>
            <a:r>
              <a:rPr lang="de-DE" dirty="0"/>
              <a:t>Bei weiteren Fragen steht Ihnen die SBV gerne zur Verfügung!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FE9577-200C-B46B-2412-BCEAEFB21A6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8969375" y="6426596"/>
            <a:ext cx="2743200" cy="184150"/>
          </a:xfrm>
        </p:spPr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30FC68-07E6-BAAC-31F2-88FFC74D6FE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11155029" y="6608514"/>
            <a:ext cx="557546" cy="184666"/>
          </a:xfrm>
        </p:spPr>
        <p:txBody>
          <a:bodyPr/>
          <a:lstStyle/>
          <a:p>
            <a:pPr algn="r"/>
            <a:r>
              <a:rPr lang="de-DE"/>
              <a:t>von 10</a:t>
            </a: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DF27E9D-788F-77DD-CCDE-48FD8A051E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23841" y="1889970"/>
            <a:ext cx="1631188" cy="1456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3996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5345B1D6-D98D-1FB7-D75A-A3E302675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ist Ihre neue SBV </a:t>
            </a:r>
          </a:p>
        </p:txBody>
      </p:sp>
      <p:sp>
        <p:nvSpPr>
          <p:cNvPr id="33" name="Textplatzhalter 32">
            <a:extLst>
              <a:ext uri="{FF2B5EF4-FFF2-40B4-BE49-F238E27FC236}">
                <a16:creationId xmlns:a16="http://schemas.microsoft.com/office/drawing/2014/main" id="{1E7194F4-7A9D-92E6-E027-85E9237BE0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Vertrauensperson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A7B32512-6FA3-7C68-96B2-0E8B1C52B34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2509" y="4895546"/>
            <a:ext cx="2263247" cy="276999"/>
          </a:xfrm>
        </p:spPr>
        <p:txBody>
          <a:bodyPr/>
          <a:lstStyle/>
          <a:p>
            <a:r>
              <a:rPr lang="de-DE" dirty="0"/>
              <a:t>Name Nachname</a:t>
            </a:r>
          </a:p>
        </p:txBody>
      </p: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11B68F3B-75E7-3A60-9B84-80CEFDDB6B2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1. Stellvertretung</a:t>
            </a:r>
          </a:p>
        </p:txBody>
      </p:sp>
      <p:sp>
        <p:nvSpPr>
          <p:cNvPr id="36" name="Textplatzhalter 35">
            <a:extLst>
              <a:ext uri="{FF2B5EF4-FFF2-40B4-BE49-F238E27FC236}">
                <a16:creationId xmlns:a16="http://schemas.microsoft.com/office/drawing/2014/main" id="{D4ACB47F-24DF-5BF3-32BD-70EE8B92796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Name Nachname</a:t>
            </a:r>
            <a:endParaRPr lang="de-DE" b="1" dirty="0"/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E7A32A34-D7DF-E8B5-2A61-D6863CA2D2D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DE" dirty="0"/>
              <a:t>2. Stellvertretung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9B1ADC72-8357-5C09-5857-D456F52EEAD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de-DE" dirty="0"/>
              <a:t>Name Nachname</a:t>
            </a:r>
            <a:endParaRPr lang="de-DE" b="1" dirty="0"/>
          </a:p>
        </p:txBody>
      </p:sp>
      <p:sp>
        <p:nvSpPr>
          <p:cNvPr id="22" name="Textplatzhalter 37">
            <a:extLst>
              <a:ext uri="{FF2B5EF4-FFF2-40B4-BE49-F238E27FC236}">
                <a16:creationId xmlns:a16="http://schemas.microsoft.com/office/drawing/2014/main" id="{E7CFF702-0494-B9F5-2DBD-BAEB5B528CE4}"/>
              </a:ext>
            </a:extLst>
          </p:cNvPr>
          <p:cNvSpPr txBox="1">
            <a:spLocks/>
          </p:cNvSpPr>
          <p:nvPr/>
        </p:nvSpPr>
        <p:spPr>
          <a:xfrm>
            <a:off x="10576800" y="1742400"/>
            <a:ext cx="1620000" cy="276999"/>
          </a:xfrm>
          <a:prstGeom prst="rect">
            <a:avLst/>
          </a:prstGeom>
        </p:spPr>
        <p:txBody>
          <a:bodyPr vert="horz" wrap="square" lIns="0" tIns="0" rIns="118800" bIns="0" rtlCol="0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180000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360363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1088" indent="-360363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1925" indent="-350838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2288" indent="-3619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b="1" dirty="0">
                <a:solidFill>
                  <a:schemeClr val="bg1"/>
                </a:solidFill>
              </a:rPr>
              <a:t>Kontakt</a:t>
            </a:r>
          </a:p>
        </p:txBody>
      </p:sp>
      <p:sp>
        <p:nvSpPr>
          <p:cNvPr id="6" name="Textplatzhalter 37">
            <a:extLst>
              <a:ext uri="{FF2B5EF4-FFF2-40B4-BE49-F238E27FC236}">
                <a16:creationId xmlns:a16="http://schemas.microsoft.com/office/drawing/2014/main" id="{B010BAC8-D140-EAF5-B5F9-45A46C001276}"/>
              </a:ext>
            </a:extLst>
          </p:cNvPr>
          <p:cNvSpPr txBox="1">
            <a:spLocks/>
          </p:cNvSpPr>
          <p:nvPr/>
        </p:nvSpPr>
        <p:spPr>
          <a:xfrm>
            <a:off x="10576763" y="3319392"/>
            <a:ext cx="1620000" cy="276999"/>
          </a:xfrm>
          <a:prstGeom prst="rect">
            <a:avLst/>
          </a:prstGeom>
        </p:spPr>
        <p:txBody>
          <a:bodyPr vert="horz" wrap="square" lIns="0" tIns="0" rIns="118800" bIns="0" rtlCol="0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180000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360363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1088" indent="-360363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1925" indent="-350838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2288" indent="-3619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dirty="0">
                <a:solidFill>
                  <a:schemeClr val="bg1"/>
                </a:solidFill>
              </a:rPr>
              <a:t>Telefon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4" name="Textplatzhalter 37">
            <a:extLst>
              <a:ext uri="{FF2B5EF4-FFF2-40B4-BE49-F238E27FC236}">
                <a16:creationId xmlns:a16="http://schemas.microsoft.com/office/drawing/2014/main" id="{C8A1B434-54D8-666F-C266-8C33DFC96FDD}"/>
              </a:ext>
            </a:extLst>
          </p:cNvPr>
          <p:cNvSpPr txBox="1">
            <a:spLocks/>
          </p:cNvSpPr>
          <p:nvPr/>
        </p:nvSpPr>
        <p:spPr>
          <a:xfrm>
            <a:off x="10486394" y="3636932"/>
            <a:ext cx="1706142" cy="276999"/>
          </a:xfrm>
          <a:prstGeom prst="rect">
            <a:avLst/>
          </a:prstGeom>
        </p:spPr>
        <p:txBody>
          <a:bodyPr vert="horz" wrap="square" lIns="0" tIns="0" rIns="118800" bIns="0" rtlCol="0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180000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360363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1088" indent="-360363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1925" indent="-350838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2288" indent="-3619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dirty="0">
                <a:solidFill>
                  <a:schemeClr val="bg1"/>
                </a:solidFill>
              </a:rPr>
              <a:t>01.. …..…..</a:t>
            </a:r>
          </a:p>
        </p:txBody>
      </p:sp>
      <p:sp>
        <p:nvSpPr>
          <p:cNvPr id="8" name="Textplatzhalter 37">
            <a:extLst>
              <a:ext uri="{FF2B5EF4-FFF2-40B4-BE49-F238E27FC236}">
                <a16:creationId xmlns:a16="http://schemas.microsoft.com/office/drawing/2014/main" id="{19B80B34-6B3F-64A7-2040-3A852E5471F5}"/>
              </a:ext>
            </a:extLst>
          </p:cNvPr>
          <p:cNvSpPr txBox="1">
            <a:spLocks/>
          </p:cNvSpPr>
          <p:nvPr/>
        </p:nvSpPr>
        <p:spPr>
          <a:xfrm>
            <a:off x="10576763" y="4556521"/>
            <a:ext cx="1620000" cy="276999"/>
          </a:xfrm>
          <a:prstGeom prst="rect">
            <a:avLst/>
          </a:prstGeom>
        </p:spPr>
        <p:txBody>
          <a:bodyPr vert="horz" wrap="square" lIns="0" tIns="0" rIns="118800" bIns="0" rtlCol="0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180000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360363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1088" indent="-360363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1925" indent="-350838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2288" indent="-3619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dirty="0">
                <a:solidFill>
                  <a:schemeClr val="bg1"/>
                </a:solidFill>
              </a:rPr>
              <a:t>E-Mail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21" name="Textplatzhalter 37">
            <a:hlinkClick r:id="rId3" tooltip="E-Mail an sbv@musterbetrieb.de"/>
            <a:extLst>
              <a:ext uri="{FF2B5EF4-FFF2-40B4-BE49-F238E27FC236}">
                <a16:creationId xmlns:a16="http://schemas.microsoft.com/office/drawing/2014/main" id="{79F7C89B-6439-85CE-6CFB-65A5A13B85B0}"/>
              </a:ext>
            </a:extLst>
          </p:cNvPr>
          <p:cNvSpPr txBox="1">
            <a:spLocks/>
          </p:cNvSpPr>
          <p:nvPr/>
        </p:nvSpPr>
        <p:spPr>
          <a:xfrm>
            <a:off x="9684000" y="4895545"/>
            <a:ext cx="2512706" cy="276999"/>
          </a:xfrm>
          <a:prstGeom prst="rect">
            <a:avLst/>
          </a:prstGeom>
        </p:spPr>
        <p:txBody>
          <a:bodyPr vert="horz" wrap="square" lIns="0" tIns="0" rIns="118800" bIns="0" rtlCol="0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800" kern="1200">
                <a:ln>
                  <a:noFill/>
                </a:ln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-180000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725" indent="-360363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1088" indent="-360363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1925" indent="-350838" algn="l" defTabSz="914400" rtl="0" eaLnBrk="1" latinLnBrk="0" hangingPunct="1">
              <a:lnSpc>
                <a:spcPts val="2800"/>
              </a:lnSpc>
              <a:spcBef>
                <a:spcPts val="800"/>
              </a:spcBef>
              <a:spcAft>
                <a:spcPts val="8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92288" indent="-3619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dirty="0">
                <a:solidFill>
                  <a:schemeClr val="bg1"/>
                </a:solidFill>
              </a:rPr>
              <a:t>sbv@musterbetrieb.de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C9ED658-D12A-AFA9-CD06-CD5480CDAD3F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r>
              <a:rPr lang="de-DE"/>
              <a:t>Seite </a:t>
            </a:r>
            <a:fld id="{B1407B4D-77BB-464B-A6DE-D36968EB9049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F8C9A93-2CBE-6CD1-C698-453DB731A13C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pPr algn="r"/>
            <a:r>
              <a:rPr lang="en-GB"/>
              <a:t>von 10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526444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BIH Farben 1">
      <a:dk1>
        <a:srgbClr val="000000"/>
      </a:dk1>
      <a:lt1>
        <a:srgbClr val="FFFFFF"/>
      </a:lt1>
      <a:dk2>
        <a:srgbClr val="485052"/>
      </a:dk2>
      <a:lt2>
        <a:srgbClr val="E7EBE9"/>
      </a:lt2>
      <a:accent1>
        <a:srgbClr val="0069B3"/>
      </a:accent1>
      <a:accent2>
        <a:srgbClr val="CD1719"/>
      </a:accent2>
      <a:accent3>
        <a:srgbClr val="243079"/>
      </a:accent3>
      <a:accent4>
        <a:srgbClr val="EA8B2D"/>
      </a:accent4>
      <a:accent5>
        <a:srgbClr val="90A7B0"/>
      </a:accent5>
      <a:accent6>
        <a:srgbClr val="485F67"/>
      </a:accent6>
      <a:hlink>
        <a:srgbClr val="5A9DB3"/>
      </a:hlink>
      <a:folHlink>
        <a:srgbClr val="C6E7F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7c5ea86-4a27-4f05-8605-a33637fca344" xsi:nil="true"/>
    <lcf76f155ced4ddcb4097134ff3c332f xmlns="19f1aeb6-faec-4560-a436-bd9b4f3e1ca7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B295726B24FBB42AB75B995F775356B" ma:contentTypeVersion="15" ma:contentTypeDescription="Ein neues Dokument erstellen." ma:contentTypeScope="" ma:versionID="555021f4554b9ccd2ddead0c456e0165">
  <xsd:schema xmlns:xsd="http://www.w3.org/2001/XMLSchema" xmlns:xs="http://www.w3.org/2001/XMLSchema" xmlns:p="http://schemas.microsoft.com/office/2006/metadata/properties" xmlns:ns2="19f1aeb6-faec-4560-a436-bd9b4f3e1ca7" xmlns:ns3="37c5ea86-4a27-4f05-8605-a33637fca344" targetNamespace="http://schemas.microsoft.com/office/2006/metadata/properties" ma:root="true" ma:fieldsID="f585ee20e0db39252035bad8f42e70d3" ns2:_="" ns3:_="">
    <xsd:import namespace="19f1aeb6-faec-4560-a436-bd9b4f3e1ca7"/>
    <xsd:import namespace="37c5ea86-4a27-4f05-8605-a33637fca3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9f1aeb6-faec-4560-a436-bd9b4f3e1ca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GenerationTime" ma:index="1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0" nillable="true" ma:taxonomy="true" ma:internalName="lcf76f155ced4ddcb4097134ff3c332f" ma:taxonomyFieldName="MediaServiceImageTags" ma:displayName="Bildmarkierungen" ma:readOnly="false" ma:fieldId="{5cf76f15-5ced-4ddc-b409-7134ff3c332f}" ma:taxonomyMulti="true" ma:sspId="dd07b6bd-1b16-4d18-8b0c-eebc35226ea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c5ea86-4a27-4f05-8605-a33637fca344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b0d4ba13-8aaf-435d-8e37-5aa08563c196}" ma:internalName="TaxCatchAll" ma:showField="CatchAllData" ma:web="37c5ea86-4a27-4f05-8605-a33637fca3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68AD60A-AED4-4C6B-A816-F4DFA7E7524B}">
  <ds:schemaRefs>
    <ds:schemaRef ds:uri="http://www.w3.org/XML/1998/namespace"/>
    <ds:schemaRef ds:uri="http://purl.org/dc/elements/1.1/"/>
    <ds:schemaRef ds:uri="19f1aeb6-faec-4560-a436-bd9b4f3e1ca7"/>
    <ds:schemaRef ds:uri="http://schemas.microsoft.com/office/2006/documentManagement/types"/>
    <ds:schemaRef ds:uri="http://schemas.microsoft.com/office/2006/metadata/properties"/>
    <ds:schemaRef ds:uri="37c5ea86-4a27-4f05-8605-a33637fca344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69B74CA8-D079-4CC5-8921-CA0ED6016DF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473A640-90A5-4FE6-9FFC-2884EC07347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9f1aeb6-faec-4560-a436-bd9b4f3e1ca7"/>
    <ds:schemaRef ds:uri="37c5ea86-4a27-4f05-8605-a33637fca3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90</Words>
  <Application>Microsoft Office PowerPoint</Application>
  <PresentationFormat>Breitbild</PresentationFormat>
  <Paragraphs>84</Paragraphs>
  <Slides>10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7" baseType="lpstr">
      <vt:lpstr>Arial</vt:lpstr>
      <vt:lpstr>Calibri</vt:lpstr>
      <vt:lpstr>Calibri Light</vt:lpstr>
      <vt:lpstr>Courier New</vt:lpstr>
      <vt:lpstr>Symbol</vt:lpstr>
      <vt:lpstr>Office</vt:lpstr>
      <vt:lpstr>think-cell Folie</vt:lpstr>
      <vt:lpstr>Ihre SBV stellt sich vor</vt:lpstr>
      <vt:lpstr>Zitat</vt:lpstr>
      <vt:lpstr>Darum geht‘s</vt:lpstr>
      <vt:lpstr>1. Was macht die SBV? </vt:lpstr>
      <vt:lpstr>2. Für wen wird die SBV tätig?</vt:lpstr>
      <vt:lpstr>3. Mit wem arbeitet die SBV zusammen?</vt:lpstr>
      <vt:lpstr>4. Geheimhaltungspflicht der SBV</vt:lpstr>
      <vt:lpstr>5. Gut zu wissen </vt:lpstr>
      <vt:lpstr>Das ist Ihre neue SBV </vt:lpstr>
      <vt:lpstr>Wir bedanken uns für Ihre Aufmerksamkei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hre SBV stellt sich vor</dc:title>
  <dc:creator>BIH</dc:creator>
  <cp:lastModifiedBy>Manuela Müller</cp:lastModifiedBy>
  <cp:revision>357</cp:revision>
  <dcterms:created xsi:type="dcterms:W3CDTF">2022-04-04T11:02:10Z</dcterms:created>
  <dcterms:modified xsi:type="dcterms:W3CDTF">2022-11-24T08:1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B295726B24FBB42AB75B995F775356B</vt:lpwstr>
  </property>
  <property fmtid="{D5CDD505-2E9C-101B-9397-08002B2CF9AE}" pid="3" name="MediaServiceImageTags">
    <vt:lpwstr/>
  </property>
</Properties>
</file>